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7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8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9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0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1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2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3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4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5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16.xml" ContentType="application/vnd.openxmlformats-officedocument.theme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  <p:sldMasterId id="2147483695" r:id="rId6"/>
    <p:sldMasterId id="2147483714" r:id="rId7"/>
    <p:sldMasterId id="2147483725" r:id="rId8"/>
    <p:sldMasterId id="2147483759" r:id="rId9"/>
    <p:sldMasterId id="2147483794" r:id="rId10"/>
    <p:sldMasterId id="2147483822" r:id="rId11"/>
    <p:sldMasterId id="2147483844" r:id="rId12"/>
    <p:sldMasterId id="2147483873" r:id="rId13"/>
    <p:sldMasterId id="2147483885" r:id="rId14"/>
    <p:sldMasterId id="2147483897" r:id="rId15"/>
    <p:sldMasterId id="2147483916" r:id="rId16"/>
    <p:sldMasterId id="2147483936" r:id="rId17"/>
    <p:sldMasterId id="2147483961" r:id="rId18"/>
    <p:sldMasterId id="2147483992" r:id="rId19"/>
    <p:sldMasterId id="2147484022" r:id="rId20"/>
  </p:sldMasterIdLst>
  <p:notesMasterIdLst>
    <p:notesMasterId r:id="rId52"/>
  </p:notesMasterIdLst>
  <p:sldIdLst>
    <p:sldId id="1486" r:id="rId21"/>
    <p:sldId id="1374" r:id="rId22"/>
    <p:sldId id="259" r:id="rId23"/>
    <p:sldId id="1885" r:id="rId24"/>
    <p:sldId id="4351" r:id="rId25"/>
    <p:sldId id="4348" r:id="rId26"/>
    <p:sldId id="1652" r:id="rId27"/>
    <p:sldId id="4350" r:id="rId28"/>
    <p:sldId id="4342" r:id="rId29"/>
    <p:sldId id="1873" r:id="rId30"/>
    <p:sldId id="274" r:id="rId31"/>
    <p:sldId id="1643" r:id="rId32"/>
    <p:sldId id="1877" r:id="rId33"/>
    <p:sldId id="272" r:id="rId34"/>
    <p:sldId id="1653" r:id="rId35"/>
    <p:sldId id="4343" r:id="rId36"/>
    <p:sldId id="1890" r:id="rId37"/>
    <p:sldId id="310" r:id="rId38"/>
    <p:sldId id="311" r:id="rId39"/>
    <p:sldId id="4345" r:id="rId40"/>
    <p:sldId id="4344" r:id="rId41"/>
    <p:sldId id="303" r:id="rId42"/>
    <p:sldId id="305" r:id="rId43"/>
    <p:sldId id="4346" r:id="rId44"/>
    <p:sldId id="4347" r:id="rId45"/>
    <p:sldId id="277" r:id="rId46"/>
    <p:sldId id="288" r:id="rId47"/>
    <p:sldId id="300" r:id="rId48"/>
    <p:sldId id="1514" r:id="rId49"/>
    <p:sldId id="1509" r:id="rId50"/>
    <p:sldId id="1392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8D7"/>
    <a:srgbClr val="0086AC"/>
    <a:srgbClr val="E2F2FF"/>
    <a:srgbClr val="E7EC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576289-1F62-427F-B1D6-E2061BDF85A7}" v="214" dt="2018-12-03T09:44:30.825"/>
  </p1510:revLst>
</p1510:revInfo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6" autoAdjust="0"/>
    <p:restoredTop sz="93621" autoAdjust="0"/>
  </p:normalViewPr>
  <p:slideViewPr>
    <p:cSldViewPr snapToGrid="0">
      <p:cViewPr varScale="1">
        <p:scale>
          <a:sx n="62" d="100"/>
          <a:sy n="62" d="100"/>
        </p:scale>
        <p:origin x="825" y="2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6.xml"/><Relationship Id="rId39" Type="http://schemas.openxmlformats.org/officeDocument/2006/relationships/slide" Target="slides/slide19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slide" Target="slides/slide22.xml"/><Relationship Id="rId47" Type="http://schemas.openxmlformats.org/officeDocument/2006/relationships/slide" Target="slides/slide27.xml"/><Relationship Id="rId50" Type="http://schemas.openxmlformats.org/officeDocument/2006/relationships/slide" Target="slides/slide30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9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slide" Target="slides/slide17.xml"/><Relationship Id="rId40" Type="http://schemas.openxmlformats.org/officeDocument/2006/relationships/slide" Target="slides/slide20.xml"/><Relationship Id="rId45" Type="http://schemas.openxmlformats.org/officeDocument/2006/relationships/slide" Target="slides/slide25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Master" Target="slideMasters/slideMaster1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slide" Target="slides/slide23.xml"/><Relationship Id="rId48" Type="http://schemas.openxmlformats.org/officeDocument/2006/relationships/slide" Target="slides/slide28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slide" Target="slides/slide18.xml"/><Relationship Id="rId46" Type="http://schemas.openxmlformats.org/officeDocument/2006/relationships/slide" Target="slides/slide26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21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49" Type="http://schemas.openxmlformats.org/officeDocument/2006/relationships/slide" Target="slides/slide29.xml"/><Relationship Id="rId57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1.xml"/><Relationship Id="rId44" Type="http://schemas.openxmlformats.org/officeDocument/2006/relationships/slide" Target="slides/slide24.xml"/><Relationship Id="rId52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bhishek Narain" userId="099d15cc-7222-491b-acce-1ee03997ed4a" providerId="ADAL" clId="{DAAF2F6C-B206-4216-8B07-ECC43A4EB523}"/>
  </pc:docChgLst>
  <pc:docChgLst>
    <pc:chgData name="Abhishek Narain" userId="099d15cc-7222-491b-acce-1ee03997ed4a" providerId="ADAL" clId="{A815BA32-F291-4FCD-A676-5586C2201886}"/>
  </pc:docChgLst>
  <pc:docChgLst>
    <pc:chgData name="Shirley Wang (IM)" userId="da4880b3-bd35-4b71-94a0-d7a6fca1a050" providerId="ADAL" clId="{52576289-1F62-427F-B1D6-E2061BDF85A7}"/>
    <pc:docChg chg="undo custSel addSld delSld modSld sldOrd delMainMaster">
      <pc:chgData name="Shirley Wang (IM)" userId="da4880b3-bd35-4b71-94a0-d7a6fca1a050" providerId="ADAL" clId="{52576289-1F62-427F-B1D6-E2061BDF85A7}" dt="2018-12-03T09:45:06.069" v="2342" actId="14100"/>
      <pc:docMkLst>
        <pc:docMk/>
      </pc:docMkLst>
      <pc:sldChg chg="modSp">
        <pc:chgData name="Shirley Wang (IM)" userId="da4880b3-bd35-4b71-94a0-d7a6fca1a050" providerId="ADAL" clId="{52576289-1F62-427F-B1D6-E2061BDF85A7}" dt="2018-12-02T11:20:39.704" v="1962" actId="20577"/>
        <pc:sldMkLst>
          <pc:docMk/>
          <pc:sldMk cId="2656396372" sldId="259"/>
        </pc:sldMkLst>
        <pc:spChg chg="mod">
          <ac:chgData name="Shirley Wang (IM)" userId="da4880b3-bd35-4b71-94a0-d7a6fca1a050" providerId="ADAL" clId="{52576289-1F62-427F-B1D6-E2061BDF85A7}" dt="2018-12-02T11:20:39.704" v="1962" actId="20577"/>
          <ac:spMkLst>
            <pc:docMk/>
            <pc:sldMk cId="2656396372" sldId="259"/>
            <ac:spMk id="3" creationId="{00000000-0000-0000-0000-000000000000}"/>
          </ac:spMkLst>
        </pc:spChg>
      </pc:sldChg>
      <pc:sldChg chg="modSp ord">
        <pc:chgData name="Shirley Wang (IM)" userId="da4880b3-bd35-4b71-94a0-d7a6fca1a050" providerId="ADAL" clId="{52576289-1F62-427F-B1D6-E2061BDF85A7}" dt="2018-11-23T13:58:06.832" v="1866" actId="20577"/>
        <pc:sldMkLst>
          <pc:docMk/>
          <pc:sldMk cId="590175795" sldId="272"/>
        </pc:sldMkLst>
        <pc:spChg chg="mod">
          <ac:chgData name="Shirley Wang (IM)" userId="da4880b3-bd35-4b71-94a0-d7a6fca1a050" providerId="ADAL" clId="{52576289-1F62-427F-B1D6-E2061BDF85A7}" dt="2018-11-23T13:58:06.832" v="1866" actId="20577"/>
          <ac:spMkLst>
            <pc:docMk/>
            <pc:sldMk cId="590175795" sldId="272"/>
            <ac:spMk id="25" creationId="{00000000-0000-0000-0000-000000000000}"/>
          </ac:spMkLst>
        </pc:spChg>
        <pc:spChg chg="mod">
          <ac:chgData name="Shirley Wang (IM)" userId="da4880b3-bd35-4b71-94a0-d7a6fca1a050" providerId="ADAL" clId="{52576289-1F62-427F-B1D6-E2061BDF85A7}" dt="2018-11-23T03:43:21.865" v="1703" actId="108"/>
          <ac:spMkLst>
            <pc:docMk/>
            <pc:sldMk cId="590175795" sldId="272"/>
            <ac:spMk id="33" creationId="{8059E029-6125-4656-A2FF-A93D7EA22008}"/>
          </ac:spMkLst>
        </pc:spChg>
        <pc:spChg chg="mod">
          <ac:chgData name="Shirley Wang (IM)" userId="da4880b3-bd35-4b71-94a0-d7a6fca1a050" providerId="ADAL" clId="{52576289-1F62-427F-B1D6-E2061BDF85A7}" dt="2018-11-19T10:14:32.341" v="265"/>
          <ac:spMkLst>
            <pc:docMk/>
            <pc:sldMk cId="590175795" sldId="272"/>
            <ac:spMk id="34" creationId="{B5785EB7-2855-41D8-8FCC-C4859C983245}"/>
          </ac:spMkLst>
        </pc:spChg>
      </pc:sldChg>
      <pc:sldChg chg="addSp delSp modSp">
        <pc:chgData name="Shirley Wang (IM)" userId="da4880b3-bd35-4b71-94a0-d7a6fca1a050" providerId="ADAL" clId="{52576289-1F62-427F-B1D6-E2061BDF85A7}" dt="2018-11-23T04:00:29.828" v="1815"/>
        <pc:sldMkLst>
          <pc:docMk/>
          <pc:sldMk cId="1799126918" sldId="274"/>
        </pc:sldMkLst>
        <pc:spChg chg="mod">
          <ac:chgData name="Shirley Wang (IM)" userId="da4880b3-bd35-4b71-94a0-d7a6fca1a050" providerId="ADAL" clId="{52576289-1F62-427F-B1D6-E2061BDF85A7}" dt="2018-11-23T03:41:46.603" v="1690" actId="108"/>
          <ac:spMkLst>
            <pc:docMk/>
            <pc:sldMk cId="1799126918" sldId="274"/>
            <ac:spMk id="113" creationId="{84835B3A-DD8E-43CC-93E1-30DC89865412}"/>
          </ac:spMkLst>
        </pc:spChg>
        <pc:grpChg chg="del">
          <ac:chgData name="Shirley Wang (IM)" userId="da4880b3-bd35-4b71-94a0-d7a6fca1a050" providerId="ADAL" clId="{52576289-1F62-427F-B1D6-E2061BDF85A7}" dt="2018-11-23T03:57:03.617" v="1725" actId="165"/>
          <ac:grpSpMkLst>
            <pc:docMk/>
            <pc:sldMk cId="1799126918" sldId="274"/>
            <ac:grpSpMk id="14" creationId="{D817530A-E2CA-46DE-BACD-60599B049746}"/>
          </ac:grpSpMkLst>
        </pc:grpChg>
        <pc:picChg chg="add">
          <ac:chgData name="Shirley Wang (IM)" userId="da4880b3-bd35-4b71-94a0-d7a6fca1a050" providerId="ADAL" clId="{52576289-1F62-427F-B1D6-E2061BDF85A7}" dt="2018-11-23T04:00:29.828" v="1815"/>
          <ac:picMkLst>
            <pc:docMk/>
            <pc:sldMk cId="1799126918" sldId="274"/>
            <ac:picMk id="7" creationId="{BE009E6E-8554-4328-8586-D0CAA6C19564}"/>
          </ac:picMkLst>
        </pc:picChg>
        <pc:picChg chg="add">
          <ac:chgData name="Shirley Wang (IM)" userId="da4880b3-bd35-4b71-94a0-d7a6fca1a050" providerId="ADAL" clId="{52576289-1F62-427F-B1D6-E2061BDF85A7}" dt="2018-11-23T04:00:29.828" v="1815"/>
          <ac:picMkLst>
            <pc:docMk/>
            <pc:sldMk cId="1799126918" sldId="274"/>
            <ac:picMk id="8" creationId="{FE977691-26A4-4B92-99C3-225F3B814A81}"/>
          </ac:picMkLst>
        </pc:picChg>
        <pc:picChg chg="del mod">
          <ac:chgData name="Shirley Wang (IM)" userId="da4880b3-bd35-4b71-94a0-d7a6fca1a050" providerId="ADAL" clId="{52576289-1F62-427F-B1D6-E2061BDF85A7}" dt="2018-11-23T04:00:29.482" v="1814" actId="478"/>
          <ac:picMkLst>
            <pc:docMk/>
            <pc:sldMk cId="1799126918" sldId="274"/>
            <ac:picMk id="9" creationId="{BF1672F6-175F-45B0-8F4B-5E09EBB0B4D5}"/>
          </ac:picMkLst>
        </pc:picChg>
        <pc:picChg chg="add">
          <ac:chgData name="Shirley Wang (IM)" userId="da4880b3-bd35-4b71-94a0-d7a6fca1a050" providerId="ADAL" clId="{52576289-1F62-427F-B1D6-E2061BDF85A7}" dt="2018-11-23T04:00:29.828" v="1815"/>
          <ac:picMkLst>
            <pc:docMk/>
            <pc:sldMk cId="1799126918" sldId="274"/>
            <ac:picMk id="10" creationId="{B17AFA93-B211-49B7-A6E8-C93D678DEFF3}"/>
          </ac:picMkLst>
        </pc:picChg>
        <pc:picChg chg="del mod topLvl">
          <ac:chgData name="Shirley Wang (IM)" userId="da4880b3-bd35-4b71-94a0-d7a6fca1a050" providerId="ADAL" clId="{52576289-1F62-427F-B1D6-E2061BDF85A7}" dt="2018-11-23T04:00:29.482" v="1814" actId="478"/>
          <ac:picMkLst>
            <pc:docMk/>
            <pc:sldMk cId="1799126918" sldId="274"/>
            <ac:picMk id="15" creationId="{28187146-C5ED-4E0E-AAEA-D7559ED4FD41}"/>
          </ac:picMkLst>
        </pc:picChg>
        <pc:picChg chg="del mod topLvl">
          <ac:chgData name="Shirley Wang (IM)" userId="da4880b3-bd35-4b71-94a0-d7a6fca1a050" providerId="ADAL" clId="{52576289-1F62-427F-B1D6-E2061BDF85A7}" dt="2018-11-23T04:00:29.482" v="1814" actId="478"/>
          <ac:picMkLst>
            <pc:docMk/>
            <pc:sldMk cId="1799126918" sldId="274"/>
            <ac:picMk id="16" creationId="{2AAAAAC2-6B16-4224-B932-05B39F3C5605}"/>
          </ac:picMkLst>
        </pc:picChg>
      </pc:sldChg>
      <pc:sldChg chg="modSp">
        <pc:chgData name="Shirley Wang (IM)" userId="da4880b3-bd35-4b71-94a0-d7a6fca1a050" providerId="ADAL" clId="{52576289-1F62-427F-B1D6-E2061BDF85A7}" dt="2018-11-23T03:44:24.754" v="1709" actId="108"/>
        <pc:sldMkLst>
          <pc:docMk/>
          <pc:sldMk cId="733279627" sldId="277"/>
        </pc:sldMkLst>
        <pc:spChg chg="mod">
          <ac:chgData name="Shirley Wang (IM)" userId="da4880b3-bd35-4b71-94a0-d7a6fca1a050" providerId="ADAL" clId="{52576289-1F62-427F-B1D6-E2061BDF85A7}" dt="2018-11-23T03:44:24.754" v="1709" actId="108"/>
          <ac:spMkLst>
            <pc:docMk/>
            <pc:sldMk cId="733279627" sldId="277"/>
            <ac:spMk id="8" creationId="{DA8BA597-7C73-4634-86AE-D672084ABCBA}"/>
          </ac:spMkLst>
        </pc:spChg>
        <pc:spChg chg="mod">
          <ac:chgData name="Shirley Wang (IM)" userId="da4880b3-bd35-4b71-94a0-d7a6fca1a050" providerId="ADAL" clId="{52576289-1F62-427F-B1D6-E2061BDF85A7}" dt="2018-11-23T03:44:21.076" v="1708" actId="122"/>
          <ac:spMkLst>
            <pc:docMk/>
            <pc:sldMk cId="733279627" sldId="277"/>
            <ac:spMk id="113" creationId="{84835B3A-DD8E-43CC-93E1-30DC89865412}"/>
          </ac:spMkLst>
        </pc:spChg>
        <pc:picChg chg="mod">
          <ac:chgData name="Shirley Wang (IM)" userId="da4880b3-bd35-4b71-94a0-d7a6fca1a050" providerId="ADAL" clId="{52576289-1F62-427F-B1D6-E2061BDF85A7}" dt="2018-11-19T08:29:26.421" v="75" actId="1076"/>
          <ac:picMkLst>
            <pc:docMk/>
            <pc:sldMk cId="733279627" sldId="277"/>
            <ac:picMk id="5" creationId="{B573967E-C4F0-482C-A89C-3DE0B6A7D554}"/>
          </ac:picMkLst>
        </pc:picChg>
        <pc:picChg chg="mod">
          <ac:chgData name="Shirley Wang (IM)" userId="da4880b3-bd35-4b71-94a0-d7a6fca1a050" providerId="ADAL" clId="{52576289-1F62-427F-B1D6-E2061BDF85A7}" dt="2018-11-19T08:29:19.876" v="73" actId="1076"/>
          <ac:picMkLst>
            <pc:docMk/>
            <pc:sldMk cId="733279627" sldId="277"/>
            <ac:picMk id="6" creationId="{85EA863D-5568-4230-9532-39276E642518}"/>
          </ac:picMkLst>
        </pc:picChg>
      </pc:sldChg>
      <pc:sldChg chg="addSp delSp modSp del">
        <pc:chgData name="Shirley Wang (IM)" userId="da4880b3-bd35-4b71-94a0-d7a6fca1a050" providerId="ADAL" clId="{52576289-1F62-427F-B1D6-E2061BDF85A7}" dt="2018-12-02T12:40:15.253" v="2264" actId="2696"/>
        <pc:sldMkLst>
          <pc:docMk/>
          <pc:sldMk cId="147753276" sldId="282"/>
        </pc:sldMkLst>
        <pc:spChg chg="mod">
          <ac:chgData name="Shirley Wang (IM)" userId="da4880b3-bd35-4b71-94a0-d7a6fca1a050" providerId="ADAL" clId="{52576289-1F62-427F-B1D6-E2061BDF85A7}" dt="2018-11-19T08:00:53.541" v="5" actId="6549"/>
          <ac:spMkLst>
            <pc:docMk/>
            <pc:sldMk cId="147753276" sldId="282"/>
            <ac:spMk id="17" creationId="{005C6554-7033-4FD7-817B-04EE491AC890}"/>
          </ac:spMkLst>
        </pc:spChg>
        <pc:spChg chg="del mod">
          <ac:chgData name="Shirley Wang (IM)" userId="da4880b3-bd35-4b71-94a0-d7a6fca1a050" providerId="ADAL" clId="{52576289-1F62-427F-B1D6-E2061BDF85A7}" dt="2018-12-02T11:33:03.371" v="2175"/>
          <ac:spMkLst>
            <pc:docMk/>
            <pc:sldMk cId="147753276" sldId="282"/>
            <ac:spMk id="48" creationId="{D8197BC5-9AF0-4934-BC93-173DCB6B1D45}"/>
          </ac:spMkLst>
        </pc:spChg>
        <pc:spChg chg="add del">
          <ac:chgData name="Shirley Wang (IM)" userId="da4880b3-bd35-4b71-94a0-d7a6fca1a050" providerId="ADAL" clId="{52576289-1F62-427F-B1D6-E2061BDF85A7}" dt="2018-12-02T11:33:03.371" v="2175"/>
          <ac:spMkLst>
            <pc:docMk/>
            <pc:sldMk cId="147753276" sldId="282"/>
            <ac:spMk id="50" creationId="{D3BE2795-A704-445B-8FE3-CC61D41066E0}"/>
          </ac:spMkLst>
        </pc:spChg>
        <pc:spChg chg="del">
          <ac:chgData name="Shirley Wang (IM)" userId="da4880b3-bd35-4b71-94a0-d7a6fca1a050" providerId="ADAL" clId="{52576289-1F62-427F-B1D6-E2061BDF85A7}" dt="2018-12-02T11:33:03.371" v="2175"/>
          <ac:spMkLst>
            <pc:docMk/>
            <pc:sldMk cId="147753276" sldId="282"/>
            <ac:spMk id="51" creationId="{9A869E85-41CB-454E-8310-7B8C91EA0698}"/>
          </ac:spMkLst>
        </pc:spChg>
      </pc:sldChg>
      <pc:sldChg chg="modSp">
        <pc:chgData name="Shirley Wang (IM)" userId="da4880b3-bd35-4b71-94a0-d7a6fca1a050" providerId="ADAL" clId="{52576289-1F62-427F-B1D6-E2061BDF85A7}" dt="2018-11-23T03:44:43.922" v="1712" actId="255"/>
        <pc:sldMkLst>
          <pc:docMk/>
          <pc:sldMk cId="3761947802" sldId="288"/>
        </pc:sldMkLst>
        <pc:spChg chg="mod">
          <ac:chgData name="Shirley Wang (IM)" userId="da4880b3-bd35-4b71-94a0-d7a6fca1a050" providerId="ADAL" clId="{52576289-1F62-427F-B1D6-E2061BDF85A7}" dt="2018-11-19T12:34:02.994" v="1041" actId="20577"/>
          <ac:spMkLst>
            <pc:docMk/>
            <pc:sldMk cId="3761947802" sldId="288"/>
            <ac:spMk id="9" creationId="{44E1419F-3994-4E1A-9EAB-A51E7E4E0183}"/>
          </ac:spMkLst>
        </pc:spChg>
        <pc:spChg chg="mod">
          <ac:chgData name="Shirley Wang (IM)" userId="da4880b3-bd35-4b71-94a0-d7a6fca1a050" providerId="ADAL" clId="{52576289-1F62-427F-B1D6-E2061BDF85A7}" dt="2018-11-23T03:44:43.922" v="1712" actId="255"/>
          <ac:spMkLst>
            <pc:docMk/>
            <pc:sldMk cId="3761947802" sldId="288"/>
            <ac:spMk id="113" creationId="{84835B3A-DD8E-43CC-93E1-30DC89865412}"/>
          </ac:spMkLst>
        </pc:spChg>
      </pc:sldChg>
      <pc:sldChg chg="modSp">
        <pc:chgData name="Shirley Wang (IM)" userId="da4880b3-bd35-4b71-94a0-d7a6fca1a050" providerId="ADAL" clId="{52576289-1F62-427F-B1D6-E2061BDF85A7}" dt="2018-11-23T03:44:49.659" v="1713" actId="108"/>
        <pc:sldMkLst>
          <pc:docMk/>
          <pc:sldMk cId="2095270077" sldId="300"/>
        </pc:sldMkLst>
        <pc:spChg chg="mod">
          <ac:chgData name="Shirley Wang (IM)" userId="da4880b3-bd35-4b71-94a0-d7a6fca1a050" providerId="ADAL" clId="{52576289-1F62-427F-B1D6-E2061BDF85A7}" dt="2018-11-19T08:31:09.850" v="78" actId="113"/>
          <ac:spMkLst>
            <pc:docMk/>
            <pc:sldMk cId="2095270077" sldId="300"/>
            <ac:spMk id="8" creationId="{73C76A3A-F29C-4A63-84AF-8A67FE470241}"/>
          </ac:spMkLst>
        </pc:spChg>
        <pc:spChg chg="mod">
          <ac:chgData name="Shirley Wang (IM)" userId="da4880b3-bd35-4b71-94a0-d7a6fca1a050" providerId="ADAL" clId="{52576289-1F62-427F-B1D6-E2061BDF85A7}" dt="2018-11-23T03:44:49.659" v="1713" actId="108"/>
          <ac:spMkLst>
            <pc:docMk/>
            <pc:sldMk cId="2095270077" sldId="300"/>
            <ac:spMk id="113" creationId="{84835B3A-DD8E-43CC-93E1-30DC89865412}"/>
          </ac:spMkLst>
        </pc:spChg>
      </pc:sldChg>
      <pc:sldChg chg="addSp delSp modSp add del">
        <pc:chgData name="Shirley Wang (IM)" userId="da4880b3-bd35-4b71-94a0-d7a6fca1a050" providerId="ADAL" clId="{52576289-1F62-427F-B1D6-E2061BDF85A7}" dt="2018-12-02T12:30:59.487" v="2261" actId="20577"/>
        <pc:sldMkLst>
          <pc:docMk/>
          <pc:sldMk cId="3249680348" sldId="303"/>
        </pc:sldMkLst>
        <pc:spChg chg="mod">
          <ac:chgData name="Shirley Wang (IM)" userId="da4880b3-bd35-4b71-94a0-d7a6fca1a050" providerId="ADAL" clId="{52576289-1F62-427F-B1D6-E2061BDF85A7}" dt="2018-12-02T11:28:15.507" v="2034" actId="1076"/>
          <ac:spMkLst>
            <pc:docMk/>
            <pc:sldMk cId="3249680348" sldId="303"/>
            <ac:spMk id="35" creationId="{75533553-1E1B-4891-B3B1-18D6891A637F}"/>
          </ac:spMkLst>
        </pc:spChg>
        <pc:spChg chg="mod">
          <ac:chgData name="Shirley Wang (IM)" userId="da4880b3-bd35-4b71-94a0-d7a6fca1a050" providerId="ADAL" clId="{52576289-1F62-427F-B1D6-E2061BDF85A7}" dt="2018-12-02T11:27:46.066" v="2008" actId="20577"/>
          <ac:spMkLst>
            <pc:docMk/>
            <pc:sldMk cId="3249680348" sldId="303"/>
            <ac:spMk id="36" creationId="{0BCBD213-7F52-4D2C-B32F-B85CBB4F7A3F}"/>
          </ac:spMkLst>
        </pc:spChg>
        <pc:spChg chg="add mod">
          <ac:chgData name="Shirley Wang (IM)" userId="da4880b3-bd35-4b71-94a0-d7a6fca1a050" providerId="ADAL" clId="{52576289-1F62-427F-B1D6-E2061BDF85A7}" dt="2018-12-02T12:30:59.487" v="2261" actId="20577"/>
          <ac:spMkLst>
            <pc:docMk/>
            <pc:sldMk cId="3249680348" sldId="303"/>
            <ac:spMk id="39" creationId="{EC7AFE73-36AA-4C33-BA5A-ECBBC451F9C2}"/>
          </ac:spMkLst>
        </pc:spChg>
        <pc:spChg chg="del">
          <ac:chgData name="Shirley Wang (IM)" userId="da4880b3-bd35-4b71-94a0-d7a6fca1a050" providerId="ADAL" clId="{52576289-1F62-427F-B1D6-E2061BDF85A7}" dt="2018-12-02T11:26:52.202" v="1983" actId="478"/>
          <ac:spMkLst>
            <pc:docMk/>
            <pc:sldMk cId="3249680348" sldId="303"/>
            <ac:spMk id="230" creationId="{3CC3D130-04D2-4CAD-A1A9-BFE942B0AC84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31" creationId="{26195EEF-9854-45D9-9374-C3ADCDDA0500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51" creationId="{41667FF4-DDDC-4E6A-8B66-2EC066BE5F4D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52" creationId="{95E952F4-9713-4FA4-8FA0-B31F577A5609}"/>
          </ac:spMkLst>
        </pc:spChg>
        <pc:spChg chg="mod">
          <ac:chgData name="Shirley Wang (IM)" userId="da4880b3-bd35-4b71-94a0-d7a6fca1a050" providerId="ADAL" clId="{52576289-1F62-427F-B1D6-E2061BDF85A7}" dt="2018-12-02T12:28:23.021" v="2228" actId="1037"/>
          <ac:spMkLst>
            <pc:docMk/>
            <pc:sldMk cId="3249680348" sldId="303"/>
            <ac:spMk id="254" creationId="{371C9BBF-BC07-4FAA-999C-E1E01231EB47}"/>
          </ac:spMkLst>
        </pc:spChg>
        <pc:spChg chg="mod">
          <ac:chgData name="Shirley Wang (IM)" userId="da4880b3-bd35-4b71-94a0-d7a6fca1a050" providerId="ADAL" clId="{52576289-1F62-427F-B1D6-E2061BDF85A7}" dt="2018-12-02T12:30:52.589" v="2249" actId="1076"/>
          <ac:spMkLst>
            <pc:docMk/>
            <pc:sldMk cId="3249680348" sldId="303"/>
            <ac:spMk id="260" creationId="{E3F936EC-DDB2-4D78-A1D7-0EE015221925}"/>
          </ac:spMkLst>
        </pc:spChg>
        <pc:picChg chg="add 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37" creationId="{CD5A4021-1C0D-402E-8688-4369CD7EBEDE}"/>
          </ac:picMkLst>
        </pc:picChg>
        <pc:picChg chg="add mod">
          <ac:chgData name="Shirley Wang (IM)" userId="da4880b3-bd35-4b71-94a0-d7a6fca1a050" providerId="ADAL" clId="{52576289-1F62-427F-B1D6-E2061BDF85A7}" dt="2018-12-02T12:30:03.125" v="2238" actId="1076"/>
          <ac:picMkLst>
            <pc:docMk/>
            <pc:sldMk cId="3249680348" sldId="303"/>
            <ac:picMk id="38" creationId="{DD6E6FE0-D601-4D7C-87D4-6CBB4B6D02A0}"/>
          </ac:picMkLst>
        </pc:picChg>
        <pc:picChg chg="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1221" creationId="{0F1417BC-1407-43AB-A715-8BA201E3BA16}"/>
          </ac:picMkLst>
        </pc:picChg>
        <pc:picChg chg="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1229" creationId="{67EA0156-4076-4159-9C12-F6473C15F7BF}"/>
          </ac:picMkLst>
        </pc:picChg>
        <pc:picChg chg="mod">
          <ac:chgData name="Shirley Wang (IM)" userId="da4880b3-bd35-4b71-94a0-d7a6fca1a050" providerId="ADAL" clId="{52576289-1F62-427F-B1D6-E2061BDF85A7}" dt="2018-12-02T12:28:23.021" v="2228" actId="1037"/>
          <ac:picMkLst>
            <pc:docMk/>
            <pc:sldMk cId="3249680348" sldId="303"/>
            <ac:picMk id="1234" creationId="{20A66531-6362-4FE8-BA88-11CA22F31F88}"/>
          </ac:picMkLst>
        </pc:picChg>
        <pc:cxnChg chg="add mod">
          <ac:chgData name="Shirley Wang (IM)" userId="da4880b3-bd35-4b71-94a0-d7a6fca1a050" providerId="ADAL" clId="{52576289-1F62-427F-B1D6-E2061BDF85A7}" dt="2018-12-02T12:30:03.125" v="2238" actId="1076"/>
          <ac:cxnSpMkLst>
            <pc:docMk/>
            <pc:sldMk cId="3249680348" sldId="303"/>
            <ac:cxnSpMk id="41" creationId="{6105F216-77D6-426C-92F6-50668C5F5D37}"/>
          </ac:cxnSpMkLst>
        </pc:cxnChg>
        <pc:cxnChg chg="mod">
          <ac:chgData name="Shirley Wang (IM)" userId="da4880b3-bd35-4b71-94a0-d7a6fca1a050" providerId="ADAL" clId="{52576289-1F62-427F-B1D6-E2061BDF85A7}" dt="2018-12-02T12:28:29.597" v="2229" actId="14100"/>
          <ac:cxnSpMkLst>
            <pc:docMk/>
            <pc:sldMk cId="3249680348" sldId="303"/>
            <ac:cxnSpMk id="82" creationId="{10C2879B-CB1B-4459-9A7D-5131FE880DED}"/>
          </ac:cxnSpMkLst>
        </pc:cxnChg>
        <pc:cxnChg chg="mod">
          <ac:chgData name="Shirley Wang (IM)" userId="da4880b3-bd35-4b71-94a0-d7a6fca1a050" providerId="ADAL" clId="{52576289-1F62-427F-B1D6-E2061BDF85A7}" dt="2018-12-02T12:28:36.543" v="2230" actId="14100"/>
          <ac:cxnSpMkLst>
            <pc:docMk/>
            <pc:sldMk cId="3249680348" sldId="303"/>
            <ac:cxnSpMk id="86" creationId="{E87B1090-CA6D-49CD-A850-32EC018C88FC}"/>
          </ac:cxnSpMkLst>
        </pc:cxnChg>
        <pc:cxnChg chg="mod">
          <ac:chgData name="Shirley Wang (IM)" userId="da4880b3-bd35-4b71-94a0-d7a6fca1a050" providerId="ADAL" clId="{52576289-1F62-427F-B1D6-E2061BDF85A7}" dt="2018-12-02T12:29:46.676" v="2236" actId="14100"/>
          <ac:cxnSpMkLst>
            <pc:docMk/>
            <pc:sldMk cId="3249680348" sldId="303"/>
            <ac:cxnSpMk id="89" creationId="{101E42EA-07F6-43E1-ACE4-FED5FABDF670}"/>
          </ac:cxnSpMkLst>
        </pc:cxnChg>
        <pc:cxnChg chg="mod">
          <ac:chgData name="Shirley Wang (IM)" userId="da4880b3-bd35-4b71-94a0-d7a6fca1a050" providerId="ADAL" clId="{52576289-1F62-427F-B1D6-E2061BDF85A7}" dt="2018-12-02T12:29:26.865" v="2233" actId="14100"/>
          <ac:cxnSpMkLst>
            <pc:docMk/>
            <pc:sldMk cId="3249680348" sldId="303"/>
            <ac:cxnSpMk id="97" creationId="{9453069C-9E3B-4AC5-83C4-1C3525E30F26}"/>
          </ac:cxnSpMkLst>
        </pc:cxnChg>
      </pc:sldChg>
      <pc:sldChg chg="addSp delSp modSp add del">
        <pc:chgData name="Shirley Wang (IM)" userId="da4880b3-bd35-4b71-94a0-d7a6fca1a050" providerId="ADAL" clId="{52576289-1F62-427F-B1D6-E2061BDF85A7}" dt="2018-12-02T12:31:09.025" v="2263" actId="1076"/>
        <pc:sldMkLst>
          <pc:docMk/>
          <pc:sldMk cId="4286145922" sldId="305"/>
        </pc:sldMkLst>
        <pc:spChg chg="mod">
          <ac:chgData name="Shirley Wang (IM)" userId="da4880b3-bd35-4b71-94a0-d7a6fca1a050" providerId="ADAL" clId="{52576289-1F62-427F-B1D6-E2061BDF85A7}" dt="2018-11-23T03:43:10.296" v="1702" actId="255"/>
          <ac:spMkLst>
            <pc:docMk/>
            <pc:sldMk cId="4286145922" sldId="305"/>
            <ac:spMk id="48" creationId="{B741FB1B-6E81-4256-94A6-C8FA5E0DCAE0}"/>
          </ac:spMkLst>
        </pc:spChg>
        <pc:spChg chg="add mod">
          <ac:chgData name="Shirley Wang (IM)" userId="da4880b3-bd35-4b71-94a0-d7a6fca1a050" providerId="ADAL" clId="{52576289-1F62-427F-B1D6-E2061BDF85A7}" dt="2018-12-02T12:31:09.025" v="2263" actId="1076"/>
          <ac:spMkLst>
            <pc:docMk/>
            <pc:sldMk cId="4286145922" sldId="305"/>
            <ac:spMk id="52" creationId="{32CCC090-6471-4AED-9EC6-45535F711CB6}"/>
          </ac:spMkLst>
        </pc:spChg>
        <pc:spChg chg="del">
          <ac:chgData name="Shirley Wang (IM)" userId="da4880b3-bd35-4b71-94a0-d7a6fca1a050" providerId="ADAL" clId="{52576289-1F62-427F-B1D6-E2061BDF85A7}" dt="2018-12-02T12:30:11.645" v="2241" actId="478"/>
          <ac:spMkLst>
            <pc:docMk/>
            <pc:sldMk cId="4286145922" sldId="305"/>
            <ac:spMk id="230" creationId="{3CC3D130-04D2-4CAD-A1A9-BFE942B0AC84}"/>
          </ac:spMkLst>
        </pc:spChg>
        <pc:picChg chg="add mod">
          <ac:chgData name="Shirley Wang (IM)" userId="da4880b3-bd35-4b71-94a0-d7a6fca1a050" providerId="ADAL" clId="{52576289-1F62-427F-B1D6-E2061BDF85A7}" dt="2018-12-02T12:30:10.549" v="2240" actId="1076"/>
          <ac:picMkLst>
            <pc:docMk/>
            <pc:sldMk cId="4286145922" sldId="305"/>
            <ac:picMk id="45" creationId="{BF9A0605-EEDF-4AB4-A486-794E50CA724B}"/>
          </ac:picMkLst>
        </pc:picChg>
        <pc:picChg chg="add mod">
          <ac:chgData name="Shirley Wang (IM)" userId="da4880b3-bd35-4b71-94a0-d7a6fca1a050" providerId="ADAL" clId="{52576289-1F62-427F-B1D6-E2061BDF85A7}" dt="2018-12-02T12:30:22.012" v="2243" actId="1076"/>
          <ac:picMkLst>
            <pc:docMk/>
            <pc:sldMk cId="4286145922" sldId="305"/>
            <ac:picMk id="49" creationId="{48FA5D63-2B19-407E-A923-828BCD51326B}"/>
          </ac:picMkLst>
        </pc:picChg>
        <pc:cxnChg chg="add mod">
          <ac:chgData name="Shirley Wang (IM)" userId="da4880b3-bd35-4b71-94a0-d7a6fca1a050" providerId="ADAL" clId="{52576289-1F62-427F-B1D6-E2061BDF85A7}" dt="2018-12-02T12:30:34.421" v="2247" actId="14100"/>
          <ac:cxnSpMkLst>
            <pc:docMk/>
            <pc:sldMk cId="4286145922" sldId="305"/>
            <ac:cxnSpMk id="50" creationId="{0E8A8E38-D337-429D-B384-89D33E1A769B}"/>
          </ac:cxnSpMkLst>
        </pc:cxnChg>
        <pc:cxnChg chg="mod">
          <ac:chgData name="Shirley Wang (IM)" userId="da4880b3-bd35-4b71-94a0-d7a6fca1a050" providerId="ADAL" clId="{52576289-1F62-427F-B1D6-E2061BDF85A7}" dt="2018-12-02T12:30:37.319" v="2248" actId="14100"/>
          <ac:cxnSpMkLst>
            <pc:docMk/>
            <pc:sldMk cId="4286145922" sldId="305"/>
            <ac:cxnSpMk id="58" creationId="{41D10C5E-EC3C-424B-A6A3-4D4BD48303DA}"/>
          </ac:cxnSpMkLst>
        </pc:cxnChg>
      </pc:sldChg>
      <pc:sldChg chg="modSp add del">
        <pc:chgData name="Shirley Wang (IM)" userId="da4880b3-bd35-4b71-94a0-d7a6fca1a050" providerId="ADAL" clId="{52576289-1F62-427F-B1D6-E2061BDF85A7}" dt="2018-11-23T03:42:07.756" v="1693" actId="108"/>
        <pc:sldMkLst>
          <pc:docMk/>
          <pc:sldMk cId="3312669885" sldId="310"/>
        </pc:sldMkLst>
        <pc:spChg chg="mod">
          <ac:chgData name="Shirley Wang (IM)" userId="da4880b3-bd35-4b71-94a0-d7a6fca1a050" providerId="ADAL" clId="{52576289-1F62-427F-B1D6-E2061BDF85A7}" dt="2018-11-23T03:42:07.756" v="1693" actId="108"/>
          <ac:spMkLst>
            <pc:docMk/>
            <pc:sldMk cId="3312669885" sldId="310"/>
            <ac:spMk id="68" creationId="{52BB2947-F494-4FF9-A48C-ED6F18C01944}"/>
          </ac:spMkLst>
        </pc:spChg>
      </pc:sldChg>
      <pc:sldChg chg="modSp">
        <pc:chgData name="Shirley Wang (IM)" userId="da4880b3-bd35-4b71-94a0-d7a6fca1a050" providerId="ADAL" clId="{52576289-1F62-427F-B1D6-E2061BDF85A7}" dt="2018-11-23T03:42:12.823" v="1694" actId="108"/>
        <pc:sldMkLst>
          <pc:docMk/>
          <pc:sldMk cId="2551723729" sldId="311"/>
        </pc:sldMkLst>
        <pc:spChg chg="mod">
          <ac:chgData name="Shirley Wang (IM)" userId="da4880b3-bd35-4b71-94a0-d7a6fca1a050" providerId="ADAL" clId="{52576289-1F62-427F-B1D6-E2061BDF85A7}" dt="2018-11-23T03:42:12.823" v="1694" actId="108"/>
          <ac:spMkLst>
            <pc:docMk/>
            <pc:sldMk cId="2551723729" sldId="311"/>
            <ac:spMk id="113" creationId="{84835B3A-DD8E-43CC-93E1-30DC89865412}"/>
          </ac:spMkLst>
        </pc:spChg>
      </pc:sldChg>
      <pc:sldChg chg="modSp">
        <pc:chgData name="Shirley Wang (IM)" userId="da4880b3-bd35-4b71-94a0-d7a6fca1a050" providerId="ADAL" clId="{52576289-1F62-427F-B1D6-E2061BDF85A7}" dt="2018-12-03T09:45:06.069" v="2342" actId="14100"/>
        <pc:sldMkLst>
          <pc:docMk/>
          <pc:sldMk cId="2777298460" sldId="1374"/>
        </pc:sldMkLst>
        <pc:spChg chg="mod">
          <ac:chgData name="Shirley Wang (IM)" userId="da4880b3-bd35-4b71-94a0-d7a6fca1a050" providerId="ADAL" clId="{52576289-1F62-427F-B1D6-E2061BDF85A7}" dt="2018-11-23T03:16:50.337" v="1513" actId="14100"/>
          <ac:spMkLst>
            <pc:docMk/>
            <pc:sldMk cId="2777298460" sldId="1374"/>
            <ac:spMk id="4" creationId="{00000000-0000-0000-0000-000000000000}"/>
          </ac:spMkLst>
        </pc:spChg>
        <pc:spChg chg="mod">
          <ac:chgData name="Shirley Wang (IM)" userId="da4880b3-bd35-4b71-94a0-d7a6fca1a050" providerId="ADAL" clId="{52576289-1F62-427F-B1D6-E2061BDF85A7}" dt="2018-12-03T09:45:06.069" v="2342" actId="14100"/>
          <ac:spMkLst>
            <pc:docMk/>
            <pc:sldMk cId="2777298460" sldId="1374"/>
            <ac:spMk id="5" creationId="{00000000-0000-0000-0000-000000000000}"/>
          </ac:spMkLst>
        </pc:spChg>
      </pc:sldChg>
      <pc:sldChg chg="delSp add del">
        <pc:chgData name="Shirley Wang (IM)" userId="da4880b3-bd35-4b71-94a0-d7a6fca1a050" providerId="ADAL" clId="{52576289-1F62-427F-B1D6-E2061BDF85A7}" dt="2018-12-02T11:25:37.046" v="1981" actId="2696"/>
        <pc:sldMkLst>
          <pc:docMk/>
          <pc:sldMk cId="3934866819" sldId="1625"/>
        </pc:sldMkLst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41" creationId="{4873D825-93E2-47F3-96FB-E6C4EE7610B3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42" creationId="{6D135903-648C-4C38-9454-98816554D262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52" creationId="{0221D44A-2707-4585-B2EE-005FAFFFB169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55" creationId="{F6BB1982-13BC-4712-AC3D-76B290C29D45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56" creationId="{581C7110-85F1-45E4-A97C-B354462E0C3F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57" creationId="{F365CB6B-C111-4EF6-A8EB-C3D7A26E3EB2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58" creationId="{0D9DFE0C-95FA-425B-B41B-1499A18FB1DD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65" creationId="{2460515A-A536-4B1B-AE1B-F7082BCF84D2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70" creationId="{E71947B4-BBCF-441C-AF5B-C6AEC3B795B7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136" creationId="{004EB5FA-7291-4C98-A605-4F50B848EAA4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148" creationId="{D322D909-A987-481C-A670-8B8109A14404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149" creationId="{8BE031A7-9B6F-4C69-A610-A826DFDEDAB1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150" creationId="{24CEDF74-995A-419B-AD6E-898F27AB723F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151" creationId="{6CF3C995-2C79-43BE-959A-DDA9F5282E4A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152" creationId="{2AA7F8EA-3F10-4BFA-90C2-7EF58FF24FF1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154" creationId="{27263E0B-BAB5-4716-B734-4770D7A046A6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156" creationId="{2317B2C4-D610-4DC8-8FB6-A775EC7F7B20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161" creationId="{51DAF2F1-4B2A-4E3A-91C8-90E93BBF7E57}"/>
          </ac:spMkLst>
        </pc:spChg>
        <pc:spChg chg="del">
          <ac:chgData name="Shirley Wang (IM)" userId="da4880b3-bd35-4b71-94a0-d7a6fca1a050" providerId="ADAL" clId="{52576289-1F62-427F-B1D6-E2061BDF85A7}" dt="2018-12-02T11:24:32.496" v="1973"/>
          <ac:spMkLst>
            <pc:docMk/>
            <pc:sldMk cId="3934866819" sldId="1625"/>
            <ac:spMk id="162" creationId="{BC33C316-6887-4EBA-AB85-6B48B98A2991}"/>
          </ac:spMkLst>
        </pc:spChg>
        <pc:grpChg chg="del">
          <ac:chgData name="Shirley Wang (IM)" userId="da4880b3-bd35-4b71-94a0-d7a6fca1a050" providerId="ADAL" clId="{52576289-1F62-427F-B1D6-E2061BDF85A7}" dt="2018-12-02T11:24:32.496" v="1973"/>
          <ac:grpSpMkLst>
            <pc:docMk/>
            <pc:sldMk cId="3934866819" sldId="1625"/>
            <ac:grpSpMk id="71" creationId="{279C5A03-58F6-442B-ACD6-049453FCB69F}"/>
          </ac:grpSpMkLst>
        </pc:grpChg>
        <pc:grpChg chg="del">
          <ac:chgData name="Shirley Wang (IM)" userId="da4880b3-bd35-4b71-94a0-d7a6fca1a050" providerId="ADAL" clId="{52576289-1F62-427F-B1D6-E2061BDF85A7}" dt="2018-12-02T11:24:32.496" v="1973"/>
          <ac:grpSpMkLst>
            <pc:docMk/>
            <pc:sldMk cId="3934866819" sldId="1625"/>
            <ac:grpSpMk id="85" creationId="{0ADD494C-2790-4063-8BD3-F244F4643682}"/>
          </ac:grpSpMkLst>
        </pc:grpChg>
        <pc:grpChg chg="del">
          <ac:chgData name="Shirley Wang (IM)" userId="da4880b3-bd35-4b71-94a0-d7a6fca1a050" providerId="ADAL" clId="{52576289-1F62-427F-B1D6-E2061BDF85A7}" dt="2018-12-02T11:24:32.496" v="1973"/>
          <ac:grpSpMkLst>
            <pc:docMk/>
            <pc:sldMk cId="3934866819" sldId="1625"/>
            <ac:grpSpMk id="101" creationId="{611846C2-D18F-463E-A182-BA22BBD7696B}"/>
          </ac:grpSpMkLst>
        </pc:grpChg>
        <pc:grpChg chg="del">
          <ac:chgData name="Shirley Wang (IM)" userId="da4880b3-bd35-4b71-94a0-d7a6fca1a050" providerId="ADAL" clId="{52576289-1F62-427F-B1D6-E2061BDF85A7}" dt="2018-12-02T11:24:32.496" v="1973"/>
          <ac:grpSpMkLst>
            <pc:docMk/>
            <pc:sldMk cId="3934866819" sldId="1625"/>
            <ac:grpSpMk id="110" creationId="{0BBA0119-1288-45CA-9145-08461052AFE2}"/>
          </ac:grpSpMkLst>
        </pc:grpChg>
        <pc:grpChg chg="del">
          <ac:chgData name="Shirley Wang (IM)" userId="da4880b3-bd35-4b71-94a0-d7a6fca1a050" providerId="ADAL" clId="{52576289-1F62-427F-B1D6-E2061BDF85A7}" dt="2018-12-02T11:24:32.496" v="1973"/>
          <ac:grpSpMkLst>
            <pc:docMk/>
            <pc:sldMk cId="3934866819" sldId="1625"/>
            <ac:grpSpMk id="119" creationId="{A10C4126-9CCD-46A2-ABCD-BA316A5407D3}"/>
          </ac:grpSpMkLst>
        </pc:grpChg>
        <pc:grpChg chg="del">
          <ac:chgData name="Shirley Wang (IM)" userId="da4880b3-bd35-4b71-94a0-d7a6fca1a050" providerId="ADAL" clId="{52576289-1F62-427F-B1D6-E2061BDF85A7}" dt="2018-12-02T11:24:32.496" v="1973"/>
          <ac:grpSpMkLst>
            <pc:docMk/>
            <pc:sldMk cId="3934866819" sldId="1625"/>
            <ac:grpSpMk id="130" creationId="{30B9744B-74F3-4B39-BA9F-C25D5EA35B0F}"/>
          </ac:grpSpMkLst>
        </pc:grpChg>
        <pc:grpChg chg="del">
          <ac:chgData name="Shirley Wang (IM)" userId="da4880b3-bd35-4b71-94a0-d7a6fca1a050" providerId="ADAL" clId="{52576289-1F62-427F-B1D6-E2061BDF85A7}" dt="2018-12-02T11:24:32.496" v="1973"/>
          <ac:grpSpMkLst>
            <pc:docMk/>
            <pc:sldMk cId="3934866819" sldId="1625"/>
            <ac:grpSpMk id="137" creationId="{880C3AB9-0446-4587-B7B9-12720B588227}"/>
          </ac:grpSpMkLst>
        </pc:grpChg>
        <pc:grpChg chg="del">
          <ac:chgData name="Shirley Wang (IM)" userId="da4880b3-bd35-4b71-94a0-d7a6fca1a050" providerId="ADAL" clId="{52576289-1F62-427F-B1D6-E2061BDF85A7}" dt="2018-12-02T11:24:32.496" v="1973"/>
          <ac:grpSpMkLst>
            <pc:docMk/>
            <pc:sldMk cId="3934866819" sldId="1625"/>
            <ac:grpSpMk id="145" creationId="{5921ABC7-25F2-4EC9-AB5F-FD96E1AEF161}"/>
          </ac:grpSpMkLst>
        </pc:grpChg>
        <pc:picChg chg="del">
          <ac:chgData name="Shirley Wang (IM)" userId="da4880b3-bd35-4b71-94a0-d7a6fca1a050" providerId="ADAL" clId="{52576289-1F62-427F-B1D6-E2061BDF85A7}" dt="2018-12-02T11:24:32.496" v="1973"/>
          <ac:picMkLst>
            <pc:docMk/>
            <pc:sldMk cId="3934866819" sldId="1625"/>
            <ac:picMk id="3" creationId="{10341F7D-5575-48DB-A382-40F3F5BEA8E5}"/>
          </ac:picMkLst>
        </pc:picChg>
        <pc:picChg chg="del">
          <ac:chgData name="Shirley Wang (IM)" userId="da4880b3-bd35-4b71-94a0-d7a6fca1a050" providerId="ADAL" clId="{52576289-1F62-427F-B1D6-E2061BDF85A7}" dt="2018-12-02T11:24:32.496" v="1973"/>
          <ac:picMkLst>
            <pc:docMk/>
            <pc:sldMk cId="3934866819" sldId="1625"/>
            <ac:picMk id="160" creationId="{C7F05692-EB3A-4477-B4B0-CA8C5661BF77}"/>
          </ac:picMkLst>
        </pc:picChg>
        <pc:cxnChg chg="del">
          <ac:chgData name="Shirley Wang (IM)" userId="da4880b3-bd35-4b71-94a0-d7a6fca1a050" providerId="ADAL" clId="{52576289-1F62-427F-B1D6-E2061BDF85A7}" dt="2018-12-02T11:24:32.496" v="1973"/>
          <ac:cxnSpMkLst>
            <pc:docMk/>
            <pc:sldMk cId="3934866819" sldId="1625"/>
            <ac:cxnSpMk id="53" creationId="{7A8E4E85-7FB5-4817-B369-410D86C755D4}"/>
          </ac:cxnSpMkLst>
        </pc:cxnChg>
        <pc:cxnChg chg="del">
          <ac:chgData name="Shirley Wang (IM)" userId="da4880b3-bd35-4b71-94a0-d7a6fca1a050" providerId="ADAL" clId="{52576289-1F62-427F-B1D6-E2061BDF85A7}" dt="2018-12-02T11:24:32.496" v="1973"/>
          <ac:cxnSpMkLst>
            <pc:docMk/>
            <pc:sldMk cId="3934866819" sldId="1625"/>
            <ac:cxnSpMk id="54" creationId="{268D1009-4307-466B-8F17-4E80DEE5EB6E}"/>
          </ac:cxnSpMkLst>
        </pc:cxnChg>
        <pc:cxnChg chg="del">
          <ac:chgData name="Shirley Wang (IM)" userId="da4880b3-bd35-4b71-94a0-d7a6fca1a050" providerId="ADAL" clId="{52576289-1F62-427F-B1D6-E2061BDF85A7}" dt="2018-12-02T11:24:32.496" v="1973"/>
          <ac:cxnSpMkLst>
            <pc:docMk/>
            <pc:sldMk cId="3934866819" sldId="1625"/>
            <ac:cxnSpMk id="69" creationId="{FCD21D92-56F1-4BFB-9640-53FC5D34C8DC}"/>
          </ac:cxnSpMkLst>
        </pc:cxnChg>
        <pc:cxnChg chg="del">
          <ac:chgData name="Shirley Wang (IM)" userId="da4880b3-bd35-4b71-94a0-d7a6fca1a050" providerId="ADAL" clId="{52576289-1F62-427F-B1D6-E2061BDF85A7}" dt="2018-12-02T11:24:32.496" v="1973"/>
          <ac:cxnSpMkLst>
            <pc:docMk/>
            <pc:sldMk cId="3934866819" sldId="1625"/>
            <ac:cxnSpMk id="125" creationId="{BD82E912-1E00-4DE2-97F6-30A24D1F25B1}"/>
          </ac:cxnSpMkLst>
        </pc:cxnChg>
        <pc:cxnChg chg="del">
          <ac:chgData name="Shirley Wang (IM)" userId="da4880b3-bd35-4b71-94a0-d7a6fca1a050" providerId="ADAL" clId="{52576289-1F62-427F-B1D6-E2061BDF85A7}" dt="2018-12-02T11:24:32.496" v="1973"/>
          <ac:cxnSpMkLst>
            <pc:docMk/>
            <pc:sldMk cId="3934866819" sldId="1625"/>
            <ac:cxnSpMk id="126" creationId="{A6F4BF33-5225-450D-927C-7940B48BC4CF}"/>
          </ac:cxnSpMkLst>
        </pc:cxnChg>
        <pc:cxnChg chg="del">
          <ac:chgData name="Shirley Wang (IM)" userId="da4880b3-bd35-4b71-94a0-d7a6fca1a050" providerId="ADAL" clId="{52576289-1F62-427F-B1D6-E2061BDF85A7}" dt="2018-12-02T11:24:32.496" v="1973"/>
          <ac:cxnSpMkLst>
            <pc:docMk/>
            <pc:sldMk cId="3934866819" sldId="1625"/>
            <ac:cxnSpMk id="127" creationId="{1B8BBAF3-1F56-47F4-9C52-A8F5660B4B95}"/>
          </ac:cxnSpMkLst>
        </pc:cxnChg>
        <pc:cxnChg chg="del">
          <ac:chgData name="Shirley Wang (IM)" userId="da4880b3-bd35-4b71-94a0-d7a6fca1a050" providerId="ADAL" clId="{52576289-1F62-427F-B1D6-E2061BDF85A7}" dt="2018-12-02T11:24:32.496" v="1973"/>
          <ac:cxnSpMkLst>
            <pc:docMk/>
            <pc:sldMk cId="3934866819" sldId="1625"/>
            <ac:cxnSpMk id="128" creationId="{1E866CE4-AFE8-4516-96DE-DECC60FDF8A9}"/>
          </ac:cxnSpMkLst>
        </pc:cxnChg>
        <pc:cxnChg chg="del">
          <ac:chgData name="Shirley Wang (IM)" userId="da4880b3-bd35-4b71-94a0-d7a6fca1a050" providerId="ADAL" clId="{52576289-1F62-427F-B1D6-E2061BDF85A7}" dt="2018-12-02T11:24:32.496" v="1973"/>
          <ac:cxnSpMkLst>
            <pc:docMk/>
            <pc:sldMk cId="3934866819" sldId="1625"/>
            <ac:cxnSpMk id="129" creationId="{92E9BE1B-7FE9-405F-AC51-44A9F0C8BA4F}"/>
          </ac:cxnSpMkLst>
        </pc:cxnChg>
        <pc:cxnChg chg="del">
          <ac:chgData name="Shirley Wang (IM)" userId="da4880b3-bd35-4b71-94a0-d7a6fca1a050" providerId="ADAL" clId="{52576289-1F62-427F-B1D6-E2061BDF85A7}" dt="2018-12-02T11:24:32.496" v="1973"/>
          <ac:cxnSpMkLst>
            <pc:docMk/>
            <pc:sldMk cId="3934866819" sldId="1625"/>
            <ac:cxnSpMk id="153" creationId="{847535EE-AF1B-41B6-BD64-0C75DCD84CC5}"/>
          </ac:cxnSpMkLst>
        </pc:cxnChg>
        <pc:cxnChg chg="del">
          <ac:chgData name="Shirley Wang (IM)" userId="da4880b3-bd35-4b71-94a0-d7a6fca1a050" providerId="ADAL" clId="{52576289-1F62-427F-B1D6-E2061BDF85A7}" dt="2018-12-02T11:24:32.496" v="1973"/>
          <ac:cxnSpMkLst>
            <pc:docMk/>
            <pc:sldMk cId="3934866819" sldId="1625"/>
            <ac:cxnSpMk id="163" creationId="{1736C94A-D805-4578-8C47-EE3F60CF45DC}"/>
          </ac:cxnSpMkLst>
        </pc:cxnChg>
      </pc:sldChg>
      <pc:sldChg chg="modSp add">
        <pc:chgData name="Shirley Wang (IM)" userId="da4880b3-bd35-4b71-94a0-d7a6fca1a050" providerId="ADAL" clId="{52576289-1F62-427F-B1D6-E2061BDF85A7}" dt="2018-11-23T04:10:15.774" v="1829" actId="20577"/>
        <pc:sldMkLst>
          <pc:docMk/>
          <pc:sldMk cId="107918746" sldId="1643"/>
        </pc:sldMkLst>
        <pc:spChg chg="mod">
          <ac:chgData name="Shirley Wang (IM)" userId="da4880b3-bd35-4b71-94a0-d7a6fca1a050" providerId="ADAL" clId="{52576289-1F62-427F-B1D6-E2061BDF85A7}" dt="2018-11-23T04:10:15.774" v="1829" actId="20577"/>
          <ac:spMkLst>
            <pc:docMk/>
            <pc:sldMk cId="107918746" sldId="1643"/>
            <ac:spMk id="2" creationId="{1DEB1C3F-4F91-4090-B20B-170898529B4A}"/>
          </ac:spMkLst>
        </pc:spChg>
        <pc:spChg chg="mod">
          <ac:chgData name="Shirley Wang (IM)" userId="da4880b3-bd35-4b71-94a0-d7a6fca1a050" providerId="ADAL" clId="{52576289-1F62-427F-B1D6-E2061BDF85A7}" dt="2018-11-23T03:41:56.525" v="1691" actId="108"/>
          <ac:spMkLst>
            <pc:docMk/>
            <pc:sldMk cId="107918746" sldId="1643"/>
            <ac:spMk id="33" creationId="{53DABB43-3747-4A16-AE3E-6D88AE3A0C03}"/>
          </ac:spMkLst>
        </pc:spChg>
        <pc:graphicFrameChg chg="mod">
          <ac:chgData name="Shirley Wang (IM)" userId="da4880b3-bd35-4b71-94a0-d7a6fca1a050" providerId="ADAL" clId="{52576289-1F62-427F-B1D6-E2061BDF85A7}" dt="2018-11-23T03:49:29.585" v="1721" actId="573"/>
          <ac:graphicFrameMkLst>
            <pc:docMk/>
            <pc:sldMk cId="107918746" sldId="1643"/>
            <ac:graphicFrameMk id="5" creationId="{F44ED4A2-B967-4AD4-BDC7-2BAA049613BF}"/>
          </ac:graphicFrameMkLst>
        </pc:graphicFrameChg>
      </pc:sldChg>
      <pc:sldChg chg="addSp delSp modSp add ord">
        <pc:chgData name="Shirley Wang (IM)" userId="da4880b3-bd35-4b71-94a0-d7a6fca1a050" providerId="ADAL" clId="{52576289-1F62-427F-B1D6-E2061BDF85A7}" dt="2018-12-02T11:20:50.284" v="1963"/>
        <pc:sldMkLst>
          <pc:docMk/>
          <pc:sldMk cId="3681664026" sldId="1652"/>
        </pc:sldMkLst>
        <pc:spChg chg="mod">
          <ac:chgData name="Shirley Wang (IM)" userId="da4880b3-bd35-4b71-94a0-d7a6fca1a050" providerId="ADAL" clId="{52576289-1F62-427F-B1D6-E2061BDF85A7}" dt="2018-11-19T08:21:59.194" v="59" actId="404"/>
          <ac:spMkLst>
            <pc:docMk/>
            <pc:sldMk cId="3681664026" sldId="1652"/>
            <ac:spMk id="2" creationId="{D4C5F8BA-DD9D-4376-8509-72FC89781EE0}"/>
          </ac:spMkLst>
        </pc:spChg>
        <pc:spChg chg="add del mod">
          <ac:chgData name="Shirley Wang (IM)" userId="da4880b3-bd35-4b71-94a0-d7a6fca1a050" providerId="ADAL" clId="{52576289-1F62-427F-B1D6-E2061BDF85A7}" dt="2018-11-19T08:21:38.655" v="34"/>
          <ac:spMkLst>
            <pc:docMk/>
            <pc:sldMk cId="3681664026" sldId="1652"/>
            <ac:spMk id="3" creationId="{B160BD31-4946-4D8C-9060-4C738157D0A3}"/>
          </ac:spMkLst>
        </pc:spChg>
      </pc:sldChg>
      <pc:sldChg chg="modSp add ord">
        <pc:chgData name="Shirley Wang (IM)" userId="da4880b3-bd35-4b71-94a0-d7a6fca1a050" providerId="ADAL" clId="{52576289-1F62-427F-B1D6-E2061BDF85A7}" dt="2018-11-23T04:04:54.420" v="1816"/>
        <pc:sldMkLst>
          <pc:docMk/>
          <pc:sldMk cId="828700643" sldId="1653"/>
        </pc:sldMkLst>
        <pc:spChg chg="mod">
          <ac:chgData name="Shirley Wang (IM)" userId="da4880b3-bd35-4b71-94a0-d7a6fca1a050" providerId="ADAL" clId="{52576289-1F62-427F-B1D6-E2061BDF85A7}" dt="2018-11-19T08:22:03.538" v="61" actId="404"/>
          <ac:spMkLst>
            <pc:docMk/>
            <pc:sldMk cId="828700643" sldId="1653"/>
            <ac:spMk id="2" creationId="{D4C5F8BA-DD9D-4376-8509-72FC89781EE0}"/>
          </ac:spMkLst>
        </pc:spChg>
      </pc:sldChg>
      <pc:sldChg chg="delSp add del">
        <pc:chgData name="Shirley Wang (IM)" userId="da4880b3-bd35-4b71-94a0-d7a6fca1a050" providerId="ADAL" clId="{52576289-1F62-427F-B1D6-E2061BDF85A7}" dt="2018-12-02T11:25:37.041" v="1980" actId="2696"/>
        <pc:sldMkLst>
          <pc:docMk/>
          <pc:sldMk cId="1307299829" sldId="1827"/>
        </pc:sldMkLst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2" creationId="{93C7F1F2-877E-4C8C-89ED-F9EA92C500A2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9" creationId="{A1E59E7D-FDA3-4EA9-A4EA-D4E00D6F9C28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41" creationId="{4873D825-93E2-47F3-96FB-E6C4EE7610B3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42" creationId="{6D135903-648C-4C38-9454-98816554D262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52" creationId="{0221D44A-2707-4585-B2EE-005FAFFFB169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55" creationId="{F6BB1982-13BC-4712-AC3D-76B290C29D45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56" creationId="{581C7110-85F1-45E4-A97C-B354462E0C3F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58" creationId="{0D9DFE0C-95FA-425B-B41B-1499A18FB1DD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65" creationId="{2460515A-A536-4B1B-AE1B-F7082BCF84D2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70" creationId="{E71947B4-BBCF-441C-AF5B-C6AEC3B795B7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136" creationId="{004EB5FA-7291-4C98-A605-4F50B848EAA4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148" creationId="{D322D909-A987-481C-A670-8B8109A14404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149" creationId="{8BE031A7-9B6F-4C69-A610-A826DFDEDAB1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150" creationId="{24CEDF74-995A-419B-AD6E-898F27AB723F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151" creationId="{6CF3C995-2C79-43BE-959A-DDA9F5282E4A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152" creationId="{2AA7F8EA-3F10-4BFA-90C2-7EF58FF24FF1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154" creationId="{27263E0B-BAB5-4716-B734-4770D7A046A6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156" creationId="{FEA93637-E540-4C89-ADD5-7280F901C9EF}"/>
          </ac:spMkLst>
        </pc:spChg>
        <pc:spChg chg="del">
          <ac:chgData name="Shirley Wang (IM)" userId="da4880b3-bd35-4b71-94a0-d7a6fca1a050" providerId="ADAL" clId="{52576289-1F62-427F-B1D6-E2061BDF85A7}" dt="2018-12-02T11:24:48.764" v="1975"/>
          <ac:spMkLst>
            <pc:docMk/>
            <pc:sldMk cId="1307299829" sldId="1827"/>
            <ac:spMk id="160" creationId="{1D559636-334A-4433-AE6B-A7EFCCF1E072}"/>
          </ac:spMkLst>
        </pc:spChg>
        <pc:grpChg chg="del">
          <ac:chgData name="Shirley Wang (IM)" userId="da4880b3-bd35-4b71-94a0-d7a6fca1a050" providerId="ADAL" clId="{52576289-1F62-427F-B1D6-E2061BDF85A7}" dt="2018-12-02T11:24:48.764" v="1975"/>
          <ac:grpSpMkLst>
            <pc:docMk/>
            <pc:sldMk cId="1307299829" sldId="1827"/>
            <ac:grpSpMk id="71" creationId="{279C5A03-58F6-442B-ACD6-049453FCB69F}"/>
          </ac:grpSpMkLst>
        </pc:grpChg>
        <pc:grpChg chg="del">
          <ac:chgData name="Shirley Wang (IM)" userId="da4880b3-bd35-4b71-94a0-d7a6fca1a050" providerId="ADAL" clId="{52576289-1F62-427F-B1D6-E2061BDF85A7}" dt="2018-12-02T11:24:48.764" v="1975"/>
          <ac:grpSpMkLst>
            <pc:docMk/>
            <pc:sldMk cId="1307299829" sldId="1827"/>
            <ac:grpSpMk id="85" creationId="{0ADD494C-2790-4063-8BD3-F244F4643682}"/>
          </ac:grpSpMkLst>
        </pc:grpChg>
        <pc:grpChg chg="del">
          <ac:chgData name="Shirley Wang (IM)" userId="da4880b3-bd35-4b71-94a0-d7a6fca1a050" providerId="ADAL" clId="{52576289-1F62-427F-B1D6-E2061BDF85A7}" dt="2018-12-02T11:24:48.764" v="1975"/>
          <ac:grpSpMkLst>
            <pc:docMk/>
            <pc:sldMk cId="1307299829" sldId="1827"/>
            <ac:grpSpMk id="101" creationId="{611846C2-D18F-463E-A182-BA22BBD7696B}"/>
          </ac:grpSpMkLst>
        </pc:grpChg>
        <pc:grpChg chg="del">
          <ac:chgData name="Shirley Wang (IM)" userId="da4880b3-bd35-4b71-94a0-d7a6fca1a050" providerId="ADAL" clId="{52576289-1F62-427F-B1D6-E2061BDF85A7}" dt="2018-12-02T11:24:48.764" v="1975"/>
          <ac:grpSpMkLst>
            <pc:docMk/>
            <pc:sldMk cId="1307299829" sldId="1827"/>
            <ac:grpSpMk id="119" creationId="{A10C4126-9CCD-46A2-ABCD-BA316A5407D3}"/>
          </ac:grpSpMkLst>
        </pc:grpChg>
        <pc:grpChg chg="del">
          <ac:chgData name="Shirley Wang (IM)" userId="da4880b3-bd35-4b71-94a0-d7a6fca1a050" providerId="ADAL" clId="{52576289-1F62-427F-B1D6-E2061BDF85A7}" dt="2018-12-02T11:24:48.764" v="1975"/>
          <ac:grpSpMkLst>
            <pc:docMk/>
            <pc:sldMk cId="1307299829" sldId="1827"/>
            <ac:grpSpMk id="130" creationId="{30B9744B-74F3-4B39-BA9F-C25D5EA35B0F}"/>
          </ac:grpSpMkLst>
        </pc:grpChg>
        <pc:grpChg chg="del">
          <ac:chgData name="Shirley Wang (IM)" userId="da4880b3-bd35-4b71-94a0-d7a6fca1a050" providerId="ADAL" clId="{52576289-1F62-427F-B1D6-E2061BDF85A7}" dt="2018-12-02T11:24:48.764" v="1975"/>
          <ac:grpSpMkLst>
            <pc:docMk/>
            <pc:sldMk cId="1307299829" sldId="1827"/>
            <ac:grpSpMk id="137" creationId="{880C3AB9-0446-4587-B7B9-12720B588227}"/>
          </ac:grpSpMkLst>
        </pc:grpChg>
        <pc:grpChg chg="del">
          <ac:chgData name="Shirley Wang (IM)" userId="da4880b3-bd35-4b71-94a0-d7a6fca1a050" providerId="ADAL" clId="{52576289-1F62-427F-B1D6-E2061BDF85A7}" dt="2018-12-02T11:24:48.764" v="1975"/>
          <ac:grpSpMkLst>
            <pc:docMk/>
            <pc:sldMk cId="1307299829" sldId="1827"/>
            <ac:grpSpMk id="145" creationId="{5921ABC7-25F2-4EC9-AB5F-FD96E1AEF161}"/>
          </ac:grpSpMkLst>
        </pc:grpChg>
        <pc:picChg chg="del">
          <ac:chgData name="Shirley Wang (IM)" userId="da4880b3-bd35-4b71-94a0-d7a6fca1a050" providerId="ADAL" clId="{52576289-1F62-427F-B1D6-E2061BDF85A7}" dt="2018-12-02T11:24:48.764" v="1975"/>
          <ac:picMkLst>
            <pc:docMk/>
            <pc:sldMk cId="1307299829" sldId="1827"/>
            <ac:picMk id="3" creationId="{C5F95F83-D8B1-49DB-A155-7885D1756AE5}"/>
          </ac:picMkLst>
        </pc:picChg>
        <pc:picChg chg="del">
          <ac:chgData name="Shirley Wang (IM)" userId="da4880b3-bd35-4b71-94a0-d7a6fca1a050" providerId="ADAL" clId="{52576289-1F62-427F-B1D6-E2061BDF85A7}" dt="2018-12-02T11:24:48.764" v="1975"/>
          <ac:picMkLst>
            <pc:docMk/>
            <pc:sldMk cId="1307299829" sldId="1827"/>
            <ac:picMk id="5" creationId="{70BF41E3-C916-42DB-BF1F-A2F62E7B3F71}"/>
          </ac:picMkLst>
        </pc:picChg>
        <pc:cxnChg chg="del">
          <ac:chgData name="Shirley Wang (IM)" userId="da4880b3-bd35-4b71-94a0-d7a6fca1a050" providerId="ADAL" clId="{52576289-1F62-427F-B1D6-E2061BDF85A7}" dt="2018-12-02T11:24:48.764" v="1975"/>
          <ac:cxnSpMkLst>
            <pc:docMk/>
            <pc:sldMk cId="1307299829" sldId="1827"/>
            <ac:cxnSpMk id="53" creationId="{7A8E4E85-7FB5-4817-B369-410D86C755D4}"/>
          </ac:cxnSpMkLst>
        </pc:cxnChg>
        <pc:cxnChg chg="del">
          <ac:chgData name="Shirley Wang (IM)" userId="da4880b3-bd35-4b71-94a0-d7a6fca1a050" providerId="ADAL" clId="{52576289-1F62-427F-B1D6-E2061BDF85A7}" dt="2018-12-02T11:24:48.764" v="1975"/>
          <ac:cxnSpMkLst>
            <pc:docMk/>
            <pc:sldMk cId="1307299829" sldId="1827"/>
            <ac:cxnSpMk id="54" creationId="{268D1009-4307-466B-8F17-4E80DEE5EB6E}"/>
          </ac:cxnSpMkLst>
        </pc:cxnChg>
        <pc:cxnChg chg="del">
          <ac:chgData name="Shirley Wang (IM)" userId="da4880b3-bd35-4b71-94a0-d7a6fca1a050" providerId="ADAL" clId="{52576289-1F62-427F-B1D6-E2061BDF85A7}" dt="2018-12-02T11:24:48.764" v="1975"/>
          <ac:cxnSpMkLst>
            <pc:docMk/>
            <pc:sldMk cId="1307299829" sldId="1827"/>
            <ac:cxnSpMk id="125" creationId="{BD82E912-1E00-4DE2-97F6-30A24D1F25B1}"/>
          </ac:cxnSpMkLst>
        </pc:cxnChg>
        <pc:cxnChg chg="del">
          <ac:chgData name="Shirley Wang (IM)" userId="da4880b3-bd35-4b71-94a0-d7a6fca1a050" providerId="ADAL" clId="{52576289-1F62-427F-B1D6-E2061BDF85A7}" dt="2018-12-02T11:24:48.764" v="1975"/>
          <ac:cxnSpMkLst>
            <pc:docMk/>
            <pc:sldMk cId="1307299829" sldId="1827"/>
            <ac:cxnSpMk id="126" creationId="{A6F4BF33-5225-450D-927C-7940B48BC4CF}"/>
          </ac:cxnSpMkLst>
        </pc:cxnChg>
        <pc:cxnChg chg="del">
          <ac:chgData name="Shirley Wang (IM)" userId="da4880b3-bd35-4b71-94a0-d7a6fca1a050" providerId="ADAL" clId="{52576289-1F62-427F-B1D6-E2061BDF85A7}" dt="2018-12-02T11:24:48.764" v="1975"/>
          <ac:cxnSpMkLst>
            <pc:docMk/>
            <pc:sldMk cId="1307299829" sldId="1827"/>
            <ac:cxnSpMk id="127" creationId="{1B8BBAF3-1F56-47F4-9C52-A8F5660B4B95}"/>
          </ac:cxnSpMkLst>
        </pc:cxnChg>
        <pc:cxnChg chg="del">
          <ac:chgData name="Shirley Wang (IM)" userId="da4880b3-bd35-4b71-94a0-d7a6fca1a050" providerId="ADAL" clId="{52576289-1F62-427F-B1D6-E2061BDF85A7}" dt="2018-12-02T11:24:48.764" v="1975"/>
          <ac:cxnSpMkLst>
            <pc:docMk/>
            <pc:sldMk cId="1307299829" sldId="1827"/>
            <ac:cxnSpMk id="128" creationId="{1E866CE4-AFE8-4516-96DE-DECC60FDF8A9}"/>
          </ac:cxnSpMkLst>
        </pc:cxnChg>
        <pc:cxnChg chg="del">
          <ac:chgData name="Shirley Wang (IM)" userId="da4880b3-bd35-4b71-94a0-d7a6fca1a050" providerId="ADAL" clId="{52576289-1F62-427F-B1D6-E2061BDF85A7}" dt="2018-12-02T11:24:48.764" v="1975"/>
          <ac:cxnSpMkLst>
            <pc:docMk/>
            <pc:sldMk cId="1307299829" sldId="1827"/>
            <ac:cxnSpMk id="129" creationId="{92E9BE1B-7FE9-405F-AC51-44A9F0C8BA4F}"/>
          </ac:cxnSpMkLst>
        </pc:cxnChg>
        <pc:cxnChg chg="del">
          <ac:chgData name="Shirley Wang (IM)" userId="da4880b3-bd35-4b71-94a0-d7a6fca1a050" providerId="ADAL" clId="{52576289-1F62-427F-B1D6-E2061BDF85A7}" dt="2018-12-02T11:24:48.764" v="1975"/>
          <ac:cxnSpMkLst>
            <pc:docMk/>
            <pc:sldMk cId="1307299829" sldId="1827"/>
            <ac:cxnSpMk id="153" creationId="{847535EE-AF1B-41B6-BD64-0C75DCD84CC5}"/>
          </ac:cxnSpMkLst>
        </pc:cxnChg>
        <pc:cxnChg chg="del">
          <ac:chgData name="Shirley Wang (IM)" userId="da4880b3-bd35-4b71-94a0-d7a6fca1a050" providerId="ADAL" clId="{52576289-1F62-427F-B1D6-E2061BDF85A7}" dt="2018-12-02T11:24:48.764" v="1975"/>
          <ac:cxnSpMkLst>
            <pc:docMk/>
            <pc:sldMk cId="1307299829" sldId="1827"/>
            <ac:cxnSpMk id="159" creationId="{D9318CF2-0A7F-43C5-87AC-17BCAE442A94}"/>
          </ac:cxnSpMkLst>
        </pc:cxnChg>
      </pc:sldChg>
      <pc:sldChg chg="addSp delSp modSp add">
        <pc:chgData name="Shirley Wang (IM)" userId="da4880b3-bd35-4b71-94a0-d7a6fca1a050" providerId="ADAL" clId="{52576289-1F62-427F-B1D6-E2061BDF85A7}" dt="2018-12-02T11:33:22.092" v="2177" actId="14100"/>
        <pc:sldMkLst>
          <pc:docMk/>
          <pc:sldMk cId="2474007931" sldId="1873"/>
        </pc:sldMkLst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17" creationId="{005C6554-7033-4FD7-817B-04EE491AC890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18" creationId="{029EA186-9883-431C-AA23-13E9D056A96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0" creationId="{66975588-CC78-4821-A755-6DCBF069CB7A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2" creationId="{C94DB16D-BD12-474E-91F7-2B08993B681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7" creationId="{2B221E4C-07E8-418B-9E78-834B1C106DA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29" creationId="{DA34DF98-0853-4D4C-8813-D270DC447790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1" creationId="{3C2DF947-5B6C-4FFF-B652-4381D3CF9D4B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2" creationId="{31030F99-B296-4B8D-BA2B-2719DB1D75A4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5" creationId="{C19C66A0-EE66-4B13-B748-6018CDE0DDA7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36" creationId="{42B4B5BD-5D8E-4F06-87B6-19D6E846C07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45" creationId="{095DFB61-8305-4F34-83B5-2F372E50C2F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46" creationId="{2F6B02B0-9284-4FF3-A830-26007B12745C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57" creationId="{AB0EBD8C-E2A2-49A3-843B-1FDEB44EECC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59" creationId="{F3ED4035-BB56-4CE1-81A0-B153BC2E6A66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0" creationId="{8DAA641D-66AF-48AF-BEF1-BD5E3652492F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1" creationId="{9DAB203B-13A8-4B70-8185-01AE4D4DB4CD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2" creationId="{9CE12454-6A3A-44CB-8D67-1D787B1EF79C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3" creationId="{0B35D7E2-588A-4DC2-A2C6-A048A133C0C9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64" creationId="{EC0A003E-7ECA-42FE-BF3B-18E9E6FDA764}"/>
          </ac:spMkLst>
        </pc:spChg>
        <pc:spChg chg="add mod">
          <ac:chgData name="Shirley Wang (IM)" userId="da4880b3-bd35-4b71-94a0-d7a6fca1a050" providerId="ADAL" clId="{52576289-1F62-427F-B1D6-E2061BDF85A7}" dt="2018-12-02T11:33:22.092" v="2177" actId="14100"/>
          <ac:spMkLst>
            <pc:docMk/>
            <pc:sldMk cId="2474007931" sldId="1873"/>
            <ac:spMk id="65" creationId="{190EB120-CED2-44F4-8F3A-793E51611A56}"/>
          </ac:spMkLst>
        </pc:spChg>
        <pc:spChg chg="add">
          <ac:chgData name="Shirley Wang (IM)" userId="da4880b3-bd35-4b71-94a0-d7a6fca1a050" providerId="ADAL" clId="{52576289-1F62-427F-B1D6-E2061BDF85A7}" dt="2018-12-02T11:33:04.869" v="2176"/>
          <ac:spMkLst>
            <pc:docMk/>
            <pc:sldMk cId="2474007931" sldId="1873"/>
            <ac:spMk id="68" creationId="{51CD1D13-991D-44D7-AF80-D9070DC7C3CA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72" creationId="{3CDF9319-38AD-4685-9C5B-8916A03F6367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74" creationId="{4DE9E213-8A65-4530-A23F-78AC4A9B9D14}"/>
          </ac:spMkLst>
        </pc:spChg>
        <pc:spChg chg="add">
          <ac:chgData name="Shirley Wang (IM)" userId="da4880b3-bd35-4b71-94a0-d7a6fca1a050" providerId="ADAL" clId="{52576289-1F62-427F-B1D6-E2061BDF85A7}" dt="2018-12-02T11:33:04.869" v="2176"/>
          <ac:spMkLst>
            <pc:docMk/>
            <pc:sldMk cId="2474007931" sldId="1873"/>
            <ac:spMk id="75" creationId="{D2093F48-ED1B-4198-90BE-76F868168C29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78" creationId="{D3ED15F6-0F84-442D-8CD2-54875DB803F8}"/>
          </ac:spMkLst>
        </pc:spChg>
        <pc:spChg chg="del mod">
          <ac:chgData name="Shirley Wang (IM)" userId="da4880b3-bd35-4b71-94a0-d7a6fca1a050" providerId="ADAL" clId="{52576289-1F62-427F-B1D6-E2061BDF85A7}" dt="2018-12-02T11:32:08.141" v="2037" actId="478"/>
          <ac:spMkLst>
            <pc:docMk/>
            <pc:sldMk cId="2474007931" sldId="1873"/>
            <ac:spMk id="81" creationId="{7D063DB3-63E3-4136-AB49-B591199FFB25}"/>
          </ac:spMkLst>
        </pc:spChg>
        <pc:spChg chg="del">
          <ac:chgData name="Shirley Wang (IM)" userId="da4880b3-bd35-4b71-94a0-d7a6fca1a050" providerId="ADAL" clId="{52576289-1F62-427F-B1D6-E2061BDF85A7}" dt="2018-12-02T11:32:09.748" v="2038" actId="478"/>
          <ac:spMkLst>
            <pc:docMk/>
            <pc:sldMk cId="2474007931" sldId="1873"/>
            <ac:spMk id="82" creationId="{FDB14542-62AA-4A56-8772-8C045003D1FE}"/>
          </ac:spMkLst>
        </pc:spChg>
        <pc:spChg chg="del">
          <ac:chgData name="Shirley Wang (IM)" userId="da4880b3-bd35-4b71-94a0-d7a6fca1a050" providerId="ADAL" clId="{52576289-1F62-427F-B1D6-E2061BDF85A7}" dt="2018-12-02T11:32:11.035" v="2039" actId="478"/>
          <ac:spMkLst>
            <pc:docMk/>
            <pc:sldMk cId="2474007931" sldId="1873"/>
            <ac:spMk id="83" creationId="{773AE37E-B94C-443D-9C82-D17FE5C5AC13}"/>
          </ac:spMkLst>
        </pc:spChg>
        <pc:spChg chg="mod">
          <ac:chgData name="Shirley Wang (IM)" userId="da4880b3-bd35-4b71-94a0-d7a6fca1a050" providerId="ADAL" clId="{52576289-1F62-427F-B1D6-E2061BDF85A7}" dt="2018-12-02T11:32:29.268" v="2172" actId="1038"/>
          <ac:spMkLst>
            <pc:docMk/>
            <pc:sldMk cId="2474007931" sldId="1873"/>
            <ac:spMk id="123" creationId="{D5CDAE0F-0B5F-4F2E-8CA1-5BB4F041F851}"/>
          </ac:spMkLst>
        </pc:spChg>
        <pc:grpChg chg="mod">
          <ac:chgData name="Shirley Wang (IM)" userId="da4880b3-bd35-4b71-94a0-d7a6fca1a050" providerId="ADAL" clId="{52576289-1F62-427F-B1D6-E2061BDF85A7}" dt="2018-12-02T11:32:29.268" v="2172" actId="1038"/>
          <ac:grpSpMkLst>
            <pc:docMk/>
            <pc:sldMk cId="2474007931" sldId="1873"/>
            <ac:grpSpMk id="15" creationId="{1E8D658E-5222-4EA5-A452-5AA9AA49C4D8}"/>
          </ac:grpSpMkLst>
        </pc:grpChg>
        <pc:grpChg chg="mod">
          <ac:chgData name="Shirley Wang (IM)" userId="da4880b3-bd35-4b71-94a0-d7a6fca1a050" providerId="ADAL" clId="{52576289-1F62-427F-B1D6-E2061BDF85A7}" dt="2018-12-02T11:32:29.268" v="2172" actId="1038"/>
          <ac:grpSpMkLst>
            <pc:docMk/>
            <pc:sldMk cId="2474007931" sldId="1873"/>
            <ac:grpSpMk id="40" creationId="{DDA2F3E5-6B52-4C08-BBF6-634DDA94B45F}"/>
          </ac:grpSpMkLst>
        </pc:grp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3" creationId="{661D5180-C214-402E-A2B1-171F6C5B2BB4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5" creationId="{6AFA2849-DC78-40EC-93CE-78C45A0F6830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21" creationId="{23D93E9B-7D38-4A37-9797-D94A97223323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33" creationId="{882F6FEA-6ADE-4725-89D7-C4DB5DF6BD11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42" creationId="{97B86723-0FB8-42F6-B7A4-BD7C3C54A17E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47" creationId="{AED0228B-4662-48D0-A884-3AD0D6B01D61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48" creationId="{B59F154E-2E9A-4649-931F-2488C923D362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50" creationId="{58ACCCB9-6A0C-46BD-BC00-2FBB592D437B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53" creationId="{BA8019C1-297B-46D4-8B9C-D0E410E9EEB6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79" creationId="{DACE255A-4F36-4CD2-9B2F-AD025D688BD1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0" creationId="{8B6F3FE8-BFEA-4591-AA21-451E60ECEE1B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4" creationId="{D0CDDBD7-549E-4A7F-9669-60D1F5A734C5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6" creationId="{0045662A-EACD-4287-B00B-BBA6EFD4560D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7" creationId="{039992B6-A7DD-4668-B9EE-D7684C75AE04}"/>
          </ac:picMkLst>
        </pc:picChg>
        <pc:picChg chg="mod">
          <ac:chgData name="Shirley Wang (IM)" userId="da4880b3-bd35-4b71-94a0-d7a6fca1a050" providerId="ADAL" clId="{52576289-1F62-427F-B1D6-E2061BDF85A7}" dt="2018-12-02T11:32:29.268" v="2172" actId="1038"/>
          <ac:picMkLst>
            <pc:docMk/>
            <pc:sldMk cId="2474007931" sldId="1873"/>
            <ac:picMk id="88" creationId="{D729F4EF-C00B-4F83-AA2C-837980FC49C6}"/>
          </ac:picMkLst>
        </pc:pic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19" creationId="{3A95DAF6-04E2-4384-BB8B-B9B6B58E307A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43" creationId="{D4E385F1-7A8F-436F-B6BA-18F11BABC1D0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44" creationId="{F24BF073-3D98-410B-9BC2-3F2270708AE0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49" creationId="{8F7A8F24-B21A-40DD-94C6-BF4CB3875348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52" creationId="{E4CED6A6-F53E-4397-9639-240C0B56D184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66" creationId="{0B356A6B-0164-4398-B570-A1F6B7F9F205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67" creationId="{D7900D27-B01D-4B85-8C5D-1E15BD88A73B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69" creationId="{90E88328-F82C-4906-89F3-82B6B96A790E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70" creationId="{919B3A7B-BEA4-4F69-8782-604057891238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71" creationId="{120FF923-36A0-419D-B58E-DEEA26F70C64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73" creationId="{86231B9F-E3C5-4BEB-8C67-916D75FC05E2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85" creationId="{B71888BB-2D5B-457D-8D15-D4385E9B1996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94" creationId="{87F235D6-C9D6-4134-8F25-3D566BA3C7B5}"/>
          </ac:cxnSpMkLst>
        </pc:cxnChg>
        <pc:cxnChg chg="mod">
          <ac:chgData name="Shirley Wang (IM)" userId="da4880b3-bd35-4b71-94a0-d7a6fca1a050" providerId="ADAL" clId="{52576289-1F62-427F-B1D6-E2061BDF85A7}" dt="2018-12-02T11:32:29.268" v="2172" actId="1038"/>
          <ac:cxnSpMkLst>
            <pc:docMk/>
            <pc:sldMk cId="2474007931" sldId="1873"/>
            <ac:cxnSpMk id="105" creationId="{A1648413-F9FF-4CB3-92FF-125136A3EC96}"/>
          </ac:cxnSpMkLst>
        </pc:cxnChg>
      </pc:sldChg>
      <pc:sldChg chg="addSp delSp modSp add ord">
        <pc:chgData name="Shirley Wang (IM)" userId="da4880b3-bd35-4b71-94a0-d7a6fca1a050" providerId="ADAL" clId="{52576289-1F62-427F-B1D6-E2061BDF85A7}" dt="2018-12-02T12:27:39.413" v="2195" actId="20577"/>
        <pc:sldMkLst>
          <pc:docMk/>
          <pc:sldMk cId="307657782" sldId="1877"/>
        </pc:sldMkLst>
        <pc:spChg chg="mod topLvl">
          <ac:chgData name="Shirley Wang (IM)" userId="da4880b3-bd35-4b71-94a0-d7a6fca1a050" providerId="ADAL" clId="{52576289-1F62-427F-B1D6-E2061BDF85A7}" dt="2018-12-02T12:27:39.413" v="2195" actId="20577"/>
          <ac:spMkLst>
            <pc:docMk/>
            <pc:sldMk cId="307657782" sldId="1877"/>
            <ac:spMk id="9" creationId="{2F635D79-C936-4D76-9527-C3B7EA732402}"/>
          </ac:spMkLst>
        </pc:spChg>
        <pc:spChg chg="mod topLvl">
          <ac:chgData name="Shirley Wang (IM)" userId="da4880b3-bd35-4b71-94a0-d7a6fca1a050" providerId="ADAL" clId="{52576289-1F62-427F-B1D6-E2061BDF85A7}" dt="2018-12-02T12:26:51.582" v="2189" actId="20577"/>
          <ac:spMkLst>
            <pc:docMk/>
            <pc:sldMk cId="307657782" sldId="1877"/>
            <ac:spMk id="13" creationId="{3D23CE4A-A0E7-4711-86F4-8C5430D15B37}"/>
          </ac:spMkLst>
        </pc:spChg>
        <pc:spChg chg="mod topLvl">
          <ac:chgData name="Shirley Wang (IM)" userId="da4880b3-bd35-4b71-94a0-d7a6fca1a050" providerId="ADAL" clId="{52576289-1F62-427F-B1D6-E2061BDF85A7}" dt="2018-11-23T13:56:36.984" v="1851" actId="554"/>
          <ac:spMkLst>
            <pc:docMk/>
            <pc:sldMk cId="307657782" sldId="1877"/>
            <ac:spMk id="20" creationId="{1DE0DDFF-4A74-4E85-8D31-EEBB1CFCF938}"/>
          </ac:spMkLst>
        </pc:spChg>
        <pc:spChg chg="mod topLvl">
          <ac:chgData name="Shirley Wang (IM)" userId="da4880b3-bd35-4b71-94a0-d7a6fca1a050" providerId="ADAL" clId="{52576289-1F62-427F-B1D6-E2061BDF85A7}" dt="2018-11-23T13:56:58.924" v="1854" actId="554"/>
          <ac:spMkLst>
            <pc:docMk/>
            <pc:sldMk cId="307657782" sldId="1877"/>
            <ac:spMk id="22" creationId="{FC778084-802A-4046-892A-C70A4AE47332}"/>
          </ac:spMkLst>
        </pc:spChg>
        <pc:spChg chg="mod topLvl">
          <ac:chgData name="Shirley Wang (IM)" userId="da4880b3-bd35-4b71-94a0-d7a6fca1a050" providerId="ADAL" clId="{52576289-1F62-427F-B1D6-E2061BDF85A7}" dt="2018-11-23T13:56:58.924" v="1854" actId="554"/>
          <ac:spMkLst>
            <pc:docMk/>
            <pc:sldMk cId="307657782" sldId="1877"/>
            <ac:spMk id="25" creationId="{7F5A5711-CE44-4335-B725-487E95488C52}"/>
          </ac:spMkLst>
        </pc:spChg>
        <pc:spChg chg="mod topLvl">
          <ac:chgData name="Shirley Wang (IM)" userId="da4880b3-bd35-4b71-94a0-d7a6fca1a050" providerId="ADAL" clId="{52576289-1F62-427F-B1D6-E2061BDF85A7}" dt="2018-11-23T13:56:58.924" v="1854" actId="554"/>
          <ac:spMkLst>
            <pc:docMk/>
            <pc:sldMk cId="307657782" sldId="1877"/>
            <ac:spMk id="27" creationId="{CF1168C9-8EAD-40C4-A7CE-6B5DC2854ADC}"/>
          </ac:spMkLst>
        </pc:spChg>
        <pc:spChg chg="add mod">
          <ac:chgData name="Shirley Wang (IM)" userId="da4880b3-bd35-4b71-94a0-d7a6fca1a050" providerId="ADAL" clId="{52576289-1F62-427F-B1D6-E2061BDF85A7}" dt="2018-11-19T10:23:38.299" v="420" actId="571"/>
          <ac:spMkLst>
            <pc:docMk/>
            <pc:sldMk cId="307657782" sldId="1877"/>
            <ac:spMk id="28" creationId="{0CD59EC2-9609-4664-A9FA-6C4B2A75385B}"/>
          </ac:spMkLst>
        </pc:spChg>
        <pc:spChg chg="add mod">
          <ac:chgData name="Shirley Wang (IM)" userId="da4880b3-bd35-4b71-94a0-d7a6fca1a050" providerId="ADAL" clId="{52576289-1F62-427F-B1D6-E2061BDF85A7}" dt="2018-11-19T10:26:58.383" v="463" actId="571"/>
          <ac:spMkLst>
            <pc:docMk/>
            <pc:sldMk cId="307657782" sldId="1877"/>
            <ac:spMk id="30" creationId="{4CD58B2E-6A95-4BD7-88E6-048E9B52C2C5}"/>
          </ac:spMkLst>
        </pc:spChg>
        <pc:spChg chg="mod">
          <ac:chgData name="Shirley Wang (IM)" userId="da4880b3-bd35-4b71-94a0-d7a6fca1a050" providerId="ADAL" clId="{52576289-1F62-427F-B1D6-E2061BDF85A7}" dt="2018-11-23T03:44:12.615" v="1706" actId="108"/>
          <ac:spMkLst>
            <pc:docMk/>
            <pc:sldMk cId="307657782" sldId="1877"/>
            <ac:spMk id="33" creationId="{53DABB43-3747-4A16-AE3E-6D88AE3A0C03}"/>
          </ac:spMkLst>
        </pc:spChg>
        <pc:spChg chg="add mod">
          <ac:chgData name="Shirley Wang (IM)" userId="da4880b3-bd35-4b71-94a0-d7a6fca1a050" providerId="ADAL" clId="{52576289-1F62-427F-B1D6-E2061BDF85A7}" dt="2018-11-19T10:35:13.113" v="647" actId="571"/>
          <ac:spMkLst>
            <pc:docMk/>
            <pc:sldMk cId="307657782" sldId="1877"/>
            <ac:spMk id="36" creationId="{636D8BF0-971C-4DD7-839A-8711965C9A7B}"/>
          </ac:spMkLst>
        </pc:spChg>
        <pc:grpChg chg="add del mod">
          <ac:chgData name="Shirley Wang (IM)" userId="da4880b3-bd35-4b71-94a0-d7a6fca1a050" providerId="ADAL" clId="{52576289-1F62-427F-B1D6-E2061BDF85A7}" dt="2018-11-19T10:26:20.257" v="454" actId="165"/>
          <ac:grpSpMkLst>
            <pc:docMk/>
            <pc:sldMk cId="307657782" sldId="1877"/>
            <ac:grpSpMk id="2" creationId="{AB412E7E-1077-477E-A6BC-D9E5ED7F925C}"/>
          </ac:grpSpMkLst>
        </pc:grpChg>
        <pc:grpChg chg="del mod">
          <ac:chgData name="Shirley Wang (IM)" userId="da4880b3-bd35-4b71-94a0-d7a6fca1a050" providerId="ADAL" clId="{52576289-1F62-427F-B1D6-E2061BDF85A7}" dt="2018-11-19T10:26:13.596" v="452" actId="165"/>
          <ac:grpSpMkLst>
            <pc:docMk/>
            <pc:sldMk cId="307657782" sldId="1877"/>
            <ac:grpSpMk id="6" creationId="{08D30C23-709C-4E79-BBDE-A8047BCF6AB8}"/>
          </ac:grpSpMkLst>
        </pc:grpChg>
        <pc:grpChg chg="del mod">
          <ac:chgData name="Shirley Wang (IM)" userId="da4880b3-bd35-4b71-94a0-d7a6fca1a050" providerId="ADAL" clId="{52576289-1F62-427F-B1D6-E2061BDF85A7}" dt="2018-11-19T10:26:04.381" v="451" actId="165"/>
          <ac:grpSpMkLst>
            <pc:docMk/>
            <pc:sldMk cId="307657782" sldId="1877"/>
            <ac:grpSpMk id="10" creationId="{47523417-EA5D-4D81-95BA-7792F0F7FC85}"/>
          </ac:grpSpMkLst>
        </pc:grpChg>
        <pc:grpChg chg="del">
          <ac:chgData name="Shirley Wang (IM)" userId="da4880b3-bd35-4b71-94a0-d7a6fca1a050" providerId="ADAL" clId="{52576289-1F62-427F-B1D6-E2061BDF85A7}" dt="2018-11-19T10:25:55.743" v="450" actId="165"/>
          <ac:grpSpMkLst>
            <pc:docMk/>
            <pc:sldMk cId="307657782" sldId="1877"/>
            <ac:grpSpMk id="14" creationId="{82EE38A2-D02B-469C-9517-E41F4F4FBCBB}"/>
          </ac:grpSpMkLst>
        </pc:grpChg>
        <pc:grpChg chg="del mod topLvl">
          <ac:chgData name="Shirley Wang (IM)" userId="da4880b3-bd35-4b71-94a0-d7a6fca1a050" providerId="ADAL" clId="{52576289-1F62-427F-B1D6-E2061BDF85A7}" dt="2018-11-19T10:26:31.096" v="457" actId="165"/>
          <ac:grpSpMkLst>
            <pc:docMk/>
            <pc:sldMk cId="307657782" sldId="1877"/>
            <ac:grpSpMk id="15" creationId="{E32AEC10-CF9C-49F1-BA42-0F52586772BD}"/>
          </ac:grpSpMkLst>
        </pc:grpChg>
        <pc:grpChg chg="del mod topLvl">
          <ac:chgData name="Shirley Wang (IM)" userId="da4880b3-bd35-4b71-94a0-d7a6fca1a050" providerId="ADAL" clId="{52576289-1F62-427F-B1D6-E2061BDF85A7}" dt="2018-11-19T10:26:34.050" v="458" actId="165"/>
          <ac:grpSpMkLst>
            <pc:docMk/>
            <pc:sldMk cId="307657782" sldId="1877"/>
            <ac:grpSpMk id="16" creationId="{5FE38622-8AC4-494C-95A4-AD35C9921BAA}"/>
          </ac:grpSpMkLst>
        </pc:grpChg>
        <pc:grpChg chg="del mod topLvl">
          <ac:chgData name="Shirley Wang (IM)" userId="da4880b3-bd35-4b71-94a0-d7a6fca1a050" providerId="ADAL" clId="{52576289-1F62-427F-B1D6-E2061BDF85A7}" dt="2018-11-19T10:26:42.634" v="459" actId="165"/>
          <ac:grpSpMkLst>
            <pc:docMk/>
            <pc:sldMk cId="307657782" sldId="1877"/>
            <ac:grpSpMk id="17" creationId="{2FFC6584-F348-4868-A273-322D48DBE13F}"/>
          </ac:grpSpMkLst>
        </pc:grpChg>
        <pc:grpChg chg="del mod topLvl">
          <ac:chgData name="Shirley Wang (IM)" userId="da4880b3-bd35-4b71-94a0-d7a6fca1a050" providerId="ADAL" clId="{52576289-1F62-427F-B1D6-E2061BDF85A7}" dt="2018-11-19T10:26:23.977" v="456" actId="165"/>
          <ac:grpSpMkLst>
            <pc:docMk/>
            <pc:sldMk cId="307657782" sldId="1877"/>
            <ac:grpSpMk id="18" creationId="{6E86A8FD-CF71-4D9E-8AD1-BB21A5A58F36}"/>
          </ac:grpSpMkLst>
        </pc:grpChg>
        <pc:picChg chg="mod topLvl">
          <ac:chgData name="Shirley Wang (IM)" userId="da4880b3-bd35-4b71-94a0-d7a6fca1a050" providerId="ADAL" clId="{52576289-1F62-427F-B1D6-E2061BDF85A7}" dt="2018-11-23T13:56:44.543" v="1852" actId="12789"/>
          <ac:picMkLst>
            <pc:docMk/>
            <pc:sldMk cId="307657782" sldId="1877"/>
            <ac:picMk id="7" creationId="{F900FADB-CAC6-4C36-B477-85442258E8F5}"/>
          </ac:picMkLst>
        </pc:picChg>
        <pc:picChg chg="mod topLvl">
          <ac:chgData name="Shirley Wang (IM)" userId="da4880b3-bd35-4b71-94a0-d7a6fca1a050" providerId="ADAL" clId="{52576289-1F62-427F-B1D6-E2061BDF85A7}" dt="2018-11-23T13:56:44.543" v="1852" actId="12789"/>
          <ac:picMkLst>
            <pc:docMk/>
            <pc:sldMk cId="307657782" sldId="1877"/>
            <ac:picMk id="12" creationId="{63C4DB65-9143-4053-B6DD-6A02747D011C}"/>
          </ac:picMkLst>
        </pc:picChg>
        <pc:picChg chg="mod topLvl">
          <ac:chgData name="Shirley Wang (IM)" userId="da4880b3-bd35-4b71-94a0-d7a6fca1a050" providerId="ADAL" clId="{52576289-1F62-427F-B1D6-E2061BDF85A7}" dt="2018-11-23T13:56:44.543" v="1852" actId="12789"/>
          <ac:picMkLst>
            <pc:docMk/>
            <pc:sldMk cId="307657782" sldId="1877"/>
            <ac:picMk id="19" creationId="{88960E92-2E53-4E8B-B028-32A41D44810D}"/>
          </ac:picMkLst>
        </pc:picChg>
        <pc:picChg chg="mod topLvl">
          <ac:chgData name="Shirley Wang (IM)" userId="da4880b3-bd35-4b71-94a0-d7a6fca1a050" providerId="ADAL" clId="{52576289-1F62-427F-B1D6-E2061BDF85A7}" dt="2018-11-23T13:56:50.277" v="1853" actId="12789"/>
          <ac:picMkLst>
            <pc:docMk/>
            <pc:sldMk cId="307657782" sldId="1877"/>
            <ac:picMk id="21" creationId="{994AE0EE-5807-4526-BE54-CAB10424AD9A}"/>
          </ac:picMkLst>
        </pc:picChg>
        <pc:picChg chg="mod topLvl">
          <ac:chgData name="Shirley Wang (IM)" userId="da4880b3-bd35-4b71-94a0-d7a6fca1a050" providerId="ADAL" clId="{52576289-1F62-427F-B1D6-E2061BDF85A7}" dt="2018-11-23T13:56:50.277" v="1853" actId="12789"/>
          <ac:picMkLst>
            <pc:docMk/>
            <pc:sldMk cId="307657782" sldId="1877"/>
            <ac:picMk id="23" creationId="{5C56A675-1BA0-4379-A582-2FEB753271B7}"/>
          </ac:picMkLst>
        </pc:picChg>
        <pc:picChg chg="add del mod">
          <ac:chgData name="Shirley Wang (IM)" userId="da4880b3-bd35-4b71-94a0-d7a6fca1a050" providerId="ADAL" clId="{52576289-1F62-427F-B1D6-E2061BDF85A7}" dt="2018-11-19T10:23:38.299" v="420" actId="571"/>
          <ac:picMkLst>
            <pc:docMk/>
            <pc:sldMk cId="307657782" sldId="1877"/>
            <ac:picMk id="24" creationId="{615D9A4F-772C-427E-A410-19901B1BF5B8}"/>
          </ac:picMkLst>
        </pc:picChg>
        <pc:picChg chg="mod topLvl">
          <ac:chgData name="Shirley Wang (IM)" userId="da4880b3-bd35-4b71-94a0-d7a6fca1a050" providerId="ADAL" clId="{52576289-1F62-427F-B1D6-E2061BDF85A7}" dt="2018-11-23T13:56:50.277" v="1853" actId="12789"/>
          <ac:picMkLst>
            <pc:docMk/>
            <pc:sldMk cId="307657782" sldId="1877"/>
            <ac:picMk id="26" creationId="{BA43B6AC-54C5-4C1B-9532-422012AB698A}"/>
          </ac:picMkLst>
        </pc:picChg>
        <pc:picChg chg="add mod">
          <ac:chgData name="Shirley Wang (IM)" userId="da4880b3-bd35-4b71-94a0-d7a6fca1a050" providerId="ADAL" clId="{52576289-1F62-427F-B1D6-E2061BDF85A7}" dt="2018-11-19T10:26:58.383" v="463" actId="571"/>
          <ac:picMkLst>
            <pc:docMk/>
            <pc:sldMk cId="307657782" sldId="1877"/>
            <ac:picMk id="29" creationId="{B320036E-9A36-4BF5-A6B1-E11733B0CA0F}"/>
          </ac:picMkLst>
        </pc:picChg>
        <pc:picChg chg="add del mod">
          <ac:chgData name="Shirley Wang (IM)" userId="da4880b3-bd35-4b71-94a0-d7a6fca1a050" providerId="ADAL" clId="{52576289-1F62-427F-B1D6-E2061BDF85A7}" dt="2018-11-19T10:34:25.121" v="635" actId="478"/>
          <ac:picMkLst>
            <pc:docMk/>
            <pc:sldMk cId="307657782" sldId="1877"/>
            <ac:picMk id="31" creationId="{34CF974F-F508-4AD3-8D71-8C371B2A7E94}"/>
          </ac:picMkLst>
        </pc:picChg>
        <pc:picChg chg="add del mod">
          <ac:chgData name="Shirley Wang (IM)" userId="da4880b3-bd35-4b71-94a0-d7a6fca1a050" providerId="ADAL" clId="{52576289-1F62-427F-B1D6-E2061BDF85A7}" dt="2018-11-19T10:34:44.787" v="641" actId="478"/>
          <ac:picMkLst>
            <pc:docMk/>
            <pc:sldMk cId="307657782" sldId="1877"/>
            <ac:picMk id="32" creationId="{1920B674-CBA5-4FC7-84CD-3D3059493684}"/>
          </ac:picMkLst>
        </pc:picChg>
        <pc:picChg chg="add del mod">
          <ac:chgData name="Shirley Wang (IM)" userId="da4880b3-bd35-4b71-94a0-d7a6fca1a050" providerId="ADAL" clId="{52576289-1F62-427F-B1D6-E2061BDF85A7}" dt="2018-11-19T10:34:32.302" v="638" actId="478"/>
          <ac:picMkLst>
            <pc:docMk/>
            <pc:sldMk cId="307657782" sldId="1877"/>
            <ac:picMk id="34" creationId="{63BAEAFD-731F-4E11-9AC0-94647022E078}"/>
          </ac:picMkLst>
        </pc:picChg>
        <pc:picChg chg="add mod">
          <ac:chgData name="Shirley Wang (IM)" userId="da4880b3-bd35-4b71-94a0-d7a6fca1a050" providerId="ADAL" clId="{52576289-1F62-427F-B1D6-E2061BDF85A7}" dt="2018-11-19T10:35:13.113" v="647" actId="571"/>
          <ac:picMkLst>
            <pc:docMk/>
            <pc:sldMk cId="307657782" sldId="1877"/>
            <ac:picMk id="35" creationId="{2CA3A853-9113-4913-BDDE-93273517BFDA}"/>
          </ac:picMkLst>
        </pc:picChg>
        <pc:picChg chg="add mod">
          <ac:chgData name="Shirley Wang (IM)" userId="da4880b3-bd35-4b71-94a0-d7a6fca1a050" providerId="ADAL" clId="{52576289-1F62-427F-B1D6-E2061BDF85A7}" dt="2018-11-19T10:35:13.113" v="647" actId="571"/>
          <ac:picMkLst>
            <pc:docMk/>
            <pc:sldMk cId="307657782" sldId="1877"/>
            <ac:picMk id="37" creationId="{2F6E44D0-F350-4F23-9510-109A5A820320}"/>
          </ac:picMkLst>
        </pc:picChg>
      </pc:sldChg>
      <pc:sldChg chg="addSp delSp modSp add">
        <pc:chgData name="Shirley Wang (IM)" userId="da4880b3-bd35-4b71-94a0-d7a6fca1a050" providerId="ADAL" clId="{52576289-1F62-427F-B1D6-E2061BDF85A7}" dt="2018-12-02T11:24:34.121" v="1974"/>
        <pc:sldMkLst>
          <pc:docMk/>
          <pc:sldMk cId="3471618729" sldId="1885"/>
        </pc:sldMkLst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41" creationId="{4873D825-93E2-47F3-96FB-E6C4EE7610B3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42" creationId="{6D135903-648C-4C38-9454-98816554D262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2" creationId="{0221D44A-2707-4585-B2EE-005FAFFFB169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5" creationId="{F6BB1982-13BC-4712-AC3D-76B290C29D45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7" creationId="{F365CB6B-C111-4EF6-A8EB-C3D7A26E3EB2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58" creationId="{0D9DFE0C-95FA-425B-B41B-1499A18FB1DD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65" creationId="{2460515A-A536-4B1B-AE1B-F7082BCF84D2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70" creationId="{E71947B4-BBCF-441C-AF5B-C6AEC3B795B7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36" creationId="{004EB5FA-7291-4C98-A605-4F50B848EAA4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48" creationId="{D322D909-A987-481C-A670-8B8109A14404}"/>
          </ac:spMkLst>
        </pc:spChg>
        <pc:spChg chg="del mod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49" creationId="{8BE031A7-9B6F-4C69-A610-A826DFDEDAB1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0" creationId="{24CEDF74-995A-419B-AD6E-898F27AB723F}"/>
          </ac:spMkLst>
        </pc:spChg>
        <pc:spChg chg="del mod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1" creationId="{6CF3C995-2C79-43BE-959A-DDA9F5282E4A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2" creationId="{2AA7F8EA-3F10-4BFA-90C2-7EF58FF24FF1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4" creationId="{27263E0B-BAB5-4716-B734-4770D7A046A6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55" creationId="{95F3FD24-C680-420A-A9F6-7D50A86978C7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56" creationId="{2317B2C4-D610-4DC8-8FB6-A775EC7F7B20}"/>
          </ac:spMkLst>
        </pc:spChg>
        <pc:spChg chg="mod">
          <ac:chgData name="Shirley Wang (IM)" userId="da4880b3-bd35-4b71-94a0-d7a6fca1a050" providerId="ADAL" clId="{52576289-1F62-427F-B1D6-E2061BDF85A7}" dt="2018-11-23T03:56:06.590" v="1723" actId="14100"/>
          <ac:spMkLst>
            <pc:docMk/>
            <pc:sldMk cId="3471618729" sldId="1885"/>
            <ac:spMk id="157" creationId="{0F3FB124-4C3B-4C58-87FC-C9D777D71D3F}"/>
          </ac:spMkLst>
        </pc:spChg>
        <pc:spChg chg="mod">
          <ac:chgData name="Shirley Wang (IM)" userId="da4880b3-bd35-4b71-94a0-d7a6fca1a050" providerId="ADAL" clId="{52576289-1F62-427F-B1D6-E2061BDF85A7}" dt="2018-11-23T03:59:44.688" v="1813" actId="1076"/>
          <ac:spMkLst>
            <pc:docMk/>
            <pc:sldMk cId="3471618729" sldId="1885"/>
            <ac:spMk id="158" creationId="{83E0CDEC-3FF4-4C6D-A38F-41B2F9DFD677}"/>
          </ac:spMkLst>
        </pc:spChg>
        <pc:spChg chg="mod">
          <ac:chgData name="Shirley Wang (IM)" userId="da4880b3-bd35-4b71-94a0-d7a6fca1a050" providerId="ADAL" clId="{52576289-1F62-427F-B1D6-E2061BDF85A7}" dt="2018-12-02T11:24:18.187" v="1971" actId="20577"/>
          <ac:spMkLst>
            <pc:docMk/>
            <pc:sldMk cId="3471618729" sldId="1885"/>
            <ac:spMk id="159" creationId="{2D38ADE1-09D7-46ED-B830-3122B0EDF1CA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61" creationId="{51DAF2F1-4B2A-4E3A-91C8-90E93BBF7E57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62" creationId="{BC33C316-6887-4EBA-AB85-6B48B98A2991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64" creationId="{82365424-865D-457D-9BBF-DD5CC4A6F528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65" creationId="{4F338A48-243F-463B-931C-CF225EE50FDF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68" creationId="{BB73BBF5-DB06-4B14-BED3-9E895DE9745B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70" creationId="{91785FF7-4C9D-4F76-BA08-59E5249D4295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71" creationId="{06D57630-0B04-4ADA-909E-78036BF6193E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72" creationId="{E2F53166-5CE6-49E9-9730-A4DE18B6D47F}"/>
          </ac:spMkLst>
        </pc:spChg>
        <pc:spChg chg="del">
          <ac:chgData name="Shirley Wang (IM)" userId="da4880b3-bd35-4b71-94a0-d7a6fca1a050" providerId="ADAL" clId="{52576289-1F62-427F-B1D6-E2061BDF85A7}" dt="2018-12-02T11:23:59.611" v="1967" actId="478"/>
          <ac:spMkLst>
            <pc:docMk/>
            <pc:sldMk cId="3471618729" sldId="1885"/>
            <ac:spMk id="174" creationId="{28B519DD-38A8-411B-87A4-C9D76F457634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83" creationId="{38C76963-2A0A-45D0-8A4F-B79F1A37CBF7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84" creationId="{AF3B98BB-4BAA-4E3D-9796-D3361C8CE332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186" creationId="{FA88C94D-ABDC-4822-9D1A-75F59D8B6C01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52" creationId="{00969007-6EEB-41AD-B0B6-5182BABE8637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4" creationId="{05B94146-6E2B-498D-A97A-9A15C27088E8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5" creationId="{5DB140A0-9E6A-442E-85A3-EAD45F17C91A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6" creationId="{32329837-BBF4-4121-B786-D896A0A66A20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7" creationId="{BA11A9EF-93FF-47D4-BB2D-C2F1C49050C4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68" creationId="{A7F82475-21A5-470C-98C2-141C176396E3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0" creationId="{BB50F891-5682-453C-9AB1-790914252364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2" creationId="{DE3AD066-FA0E-45A5-8D6C-0270D1F46D1B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4" creationId="{B155FF6A-CE7F-4249-BED7-8E8718FA2790}"/>
          </ac:spMkLst>
        </pc:spChg>
        <pc:spChg chg="add">
          <ac:chgData name="Shirley Wang (IM)" userId="da4880b3-bd35-4b71-94a0-d7a6fca1a050" providerId="ADAL" clId="{52576289-1F62-427F-B1D6-E2061BDF85A7}" dt="2018-12-02T11:24:34.121" v="1974"/>
          <ac:spMkLst>
            <pc:docMk/>
            <pc:sldMk cId="3471618729" sldId="1885"/>
            <ac:spMk id="275" creationId="{DC3BD6CD-E7C0-434E-8210-9AC897446196}"/>
          </ac:spMkLst>
        </pc:s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71" creationId="{279C5A03-58F6-442B-ACD6-049453FCB69F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85" creationId="{0ADD494C-2790-4063-8BD3-F244F4643682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01" creationId="{611846C2-D18F-463E-A182-BA22BBD7696B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10" creationId="{0BBA0119-1288-45CA-9145-08461052AFE2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19" creationId="{A10C4126-9CCD-46A2-ABCD-BA316A5407D3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30" creationId="{30B9744B-74F3-4B39-BA9F-C25D5EA35B0F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37" creationId="{880C3AB9-0446-4587-B7B9-12720B588227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45" creationId="{5921ABC7-25F2-4EC9-AB5F-FD96E1AEF161}"/>
          </ac:grpSpMkLst>
        </pc:grpChg>
        <pc:grpChg chg="del">
          <ac:chgData name="Shirley Wang (IM)" userId="da4880b3-bd35-4b71-94a0-d7a6fca1a050" providerId="ADAL" clId="{52576289-1F62-427F-B1D6-E2061BDF85A7}" dt="2018-12-02T11:23:59.611" v="1967" actId="478"/>
          <ac:grpSpMkLst>
            <pc:docMk/>
            <pc:sldMk cId="3471618729" sldId="1885"/>
            <ac:grpSpMk id="175" creationId="{6BA5730F-8581-4C92-826A-B435D2E7F2BB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187" creationId="{0C4A4B8B-24E1-4722-86F0-491FE9D03192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01" creationId="{BA85707F-839A-424A-B2A0-D1E98FBDC69A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17" creationId="{ACFD76B3-52C3-4957-8C9A-9BEAD33F2D21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26" creationId="{379BCE43-AECC-4A67-8CCD-78DA8DD5B336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35" creationId="{2C711776-E149-4F75-AFD3-59EB67F65E1E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46" creationId="{ABCBAFDB-E5BE-4925-ADA1-D02421E4D6AE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53" creationId="{B4BD7B08-E7F5-4C64-B2ED-E8BBFE0E7771}"/>
          </ac:grpSpMkLst>
        </pc:grpChg>
        <pc:grpChg chg="add">
          <ac:chgData name="Shirley Wang (IM)" userId="da4880b3-bd35-4b71-94a0-d7a6fca1a050" providerId="ADAL" clId="{52576289-1F62-427F-B1D6-E2061BDF85A7}" dt="2018-12-02T11:24:34.121" v="1974"/>
          <ac:grpSpMkLst>
            <pc:docMk/>
            <pc:sldMk cId="3471618729" sldId="1885"/>
            <ac:grpSpMk id="261" creationId="{71FC833C-9CE0-4003-B47E-0058F8949D01}"/>
          </ac:grpSpMkLst>
        </pc:grpChg>
        <pc:picChg chg="del">
          <ac:chgData name="Shirley Wang (IM)" userId="da4880b3-bd35-4b71-94a0-d7a6fca1a050" providerId="ADAL" clId="{52576289-1F62-427F-B1D6-E2061BDF85A7}" dt="2018-12-02T11:23:59.611" v="1967" actId="478"/>
          <ac:picMkLst>
            <pc:docMk/>
            <pc:sldMk cId="3471618729" sldId="1885"/>
            <ac:picMk id="3" creationId="{10341F7D-5575-48DB-A382-40F3F5BEA8E5}"/>
          </ac:picMkLst>
        </pc:picChg>
        <pc:picChg chg="del">
          <ac:chgData name="Shirley Wang (IM)" userId="da4880b3-bd35-4b71-94a0-d7a6fca1a050" providerId="ADAL" clId="{52576289-1F62-427F-B1D6-E2061BDF85A7}" dt="2018-12-02T11:23:59.611" v="1967" actId="478"/>
          <ac:picMkLst>
            <pc:docMk/>
            <pc:sldMk cId="3471618729" sldId="1885"/>
            <ac:picMk id="160" creationId="{C7F05692-EB3A-4477-B4B0-CA8C5661BF77}"/>
          </ac:picMkLst>
        </pc:picChg>
        <pc:picChg chg="del">
          <ac:chgData name="Shirley Wang (IM)" userId="da4880b3-bd35-4b71-94a0-d7a6fca1a050" providerId="ADAL" clId="{52576289-1F62-427F-B1D6-E2061BDF85A7}" dt="2018-12-02T11:23:59.611" v="1967" actId="478"/>
          <ac:picMkLst>
            <pc:docMk/>
            <pc:sldMk cId="3471618729" sldId="1885"/>
            <ac:picMk id="173" creationId="{37B2123D-2E82-4A43-83E6-EA0E2DB5323E}"/>
          </ac:picMkLst>
        </pc:picChg>
        <pc:picChg chg="add">
          <ac:chgData name="Shirley Wang (IM)" userId="da4880b3-bd35-4b71-94a0-d7a6fca1a050" providerId="ADAL" clId="{52576289-1F62-427F-B1D6-E2061BDF85A7}" dt="2018-12-02T11:24:34.121" v="1974"/>
          <ac:picMkLst>
            <pc:docMk/>
            <pc:sldMk cId="3471618729" sldId="1885"/>
            <ac:picMk id="271" creationId="{6935DE22-29D1-410F-8A14-1920A525DCCB}"/>
          </ac:picMkLst>
        </pc:picChg>
        <pc:picChg chg="add">
          <ac:chgData name="Shirley Wang (IM)" userId="da4880b3-bd35-4b71-94a0-d7a6fca1a050" providerId="ADAL" clId="{52576289-1F62-427F-B1D6-E2061BDF85A7}" dt="2018-12-02T11:24:34.121" v="1974"/>
          <ac:picMkLst>
            <pc:docMk/>
            <pc:sldMk cId="3471618729" sldId="1885"/>
            <ac:picMk id="273" creationId="{F8D47981-55B9-428B-BECC-8B89E7893E4F}"/>
          </ac:picMkLst>
        </pc:pic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53" creationId="{7A8E4E85-7FB5-4817-B369-410D86C755D4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54" creationId="{268D1009-4307-466B-8F17-4E80DEE5EB6E}"/>
          </ac:cxnSpMkLst>
        </pc:cxnChg>
        <pc:cxnChg chg="del mod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5" creationId="{BD82E912-1E00-4DE2-97F6-30A24D1F25B1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6" creationId="{A6F4BF33-5225-450D-927C-7940B48BC4CF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7" creationId="{1B8BBAF3-1F56-47F4-9C52-A8F5660B4B95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8" creationId="{1E866CE4-AFE8-4516-96DE-DECC60FDF8A9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29" creationId="{92E9BE1B-7FE9-405F-AC51-44A9F0C8BA4F}"/>
          </ac:cxnSpMkLst>
        </pc:cxnChg>
        <pc:cxnChg chg="del mod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53" creationId="{847535EE-AF1B-41B6-BD64-0C75DCD84CC5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63" creationId="{1736C94A-D805-4578-8C47-EE3F60CF45DC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166" creationId="{15B46A04-3621-4310-B0E1-0D52B0713858}"/>
          </ac:cxnSpMkLst>
        </pc:cxnChg>
        <pc:cxnChg chg="del">
          <ac:chgData name="Shirley Wang (IM)" userId="da4880b3-bd35-4b71-94a0-d7a6fca1a050" providerId="ADAL" clId="{52576289-1F62-427F-B1D6-E2061BDF85A7}" dt="2018-12-02T11:23:59.611" v="1967" actId="478"/>
          <ac:cxnSpMkLst>
            <pc:docMk/>
            <pc:sldMk cId="3471618729" sldId="1885"/>
            <ac:cxnSpMk id="167" creationId="{E36086C7-0C8B-4870-93F7-1CFEDF3D66C3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169" creationId="{6847B7D1-2BA7-41ED-9F83-F48A45D15BA7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185" creationId="{98AC8C0D-DC4E-418F-9835-4D75115E487A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1" creationId="{DE4C24EB-DCCD-46F8-8A4C-B194A923741D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2" creationId="{AA7B7D6F-3B7E-46B1-9686-48E2509D6352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3" creationId="{303E9029-72B0-4A9D-8810-3A09B49E9137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4" creationId="{0831E5F1-BF93-47A7-9FCA-355022A895B3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45" creationId="{273F52C6-F86E-4C99-9D4C-14FC4C486DF3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69" creationId="{FA5B3583-4869-485D-A81D-DBBB4A2AA081}"/>
          </ac:cxnSpMkLst>
        </pc:cxnChg>
        <pc:cxnChg chg="add">
          <ac:chgData name="Shirley Wang (IM)" userId="da4880b3-bd35-4b71-94a0-d7a6fca1a050" providerId="ADAL" clId="{52576289-1F62-427F-B1D6-E2061BDF85A7}" dt="2018-12-02T11:24:34.121" v="1974"/>
          <ac:cxnSpMkLst>
            <pc:docMk/>
            <pc:sldMk cId="3471618729" sldId="1885"/>
            <ac:cxnSpMk id="276" creationId="{82D339C9-9CF3-4CA0-A6D1-9C78501AE14A}"/>
          </ac:cxnSpMkLst>
        </pc:cxnChg>
      </pc:sldChg>
      <pc:sldChg chg="modSp add">
        <pc:chgData name="Shirley Wang (IM)" userId="da4880b3-bd35-4b71-94a0-d7a6fca1a050" providerId="ADAL" clId="{52576289-1F62-427F-B1D6-E2061BDF85A7}" dt="2018-11-23T03:42:02.726" v="1692" actId="108"/>
        <pc:sldMkLst>
          <pc:docMk/>
          <pc:sldMk cId="3191185065" sldId="1890"/>
        </pc:sldMkLst>
        <pc:spChg chg="mod">
          <ac:chgData name="Shirley Wang (IM)" userId="da4880b3-bd35-4b71-94a0-d7a6fca1a050" providerId="ADAL" clId="{52576289-1F62-427F-B1D6-E2061BDF85A7}" dt="2018-11-23T03:42:02.726" v="1692" actId="108"/>
          <ac:spMkLst>
            <pc:docMk/>
            <pc:sldMk cId="3191185065" sldId="1890"/>
            <ac:spMk id="42" creationId="{F9139A97-F0F2-4E22-9D53-9AA8054E57E2}"/>
          </ac:spMkLst>
        </pc:spChg>
      </pc:sldChg>
      <pc:sldChg chg="modSp add ord modAnim">
        <pc:chgData name="Shirley Wang (IM)" userId="da4880b3-bd35-4b71-94a0-d7a6fca1a050" providerId="ADAL" clId="{52576289-1F62-427F-B1D6-E2061BDF85A7}" dt="2018-12-02T11:25:45.564" v="1982"/>
        <pc:sldMkLst>
          <pc:docMk/>
          <pc:sldMk cId="1815617866" sldId="4342"/>
        </pc:sldMkLst>
        <pc:spChg chg="mod">
          <ac:chgData name="Shirley Wang (IM)" userId="da4880b3-bd35-4b71-94a0-d7a6fca1a050" providerId="ADAL" clId="{52576289-1F62-427F-B1D6-E2061BDF85A7}" dt="2018-11-23T03:41:24.148" v="1688" actId="108"/>
          <ac:spMkLst>
            <pc:docMk/>
            <pc:sldMk cId="1815617866" sldId="4342"/>
            <ac:spMk id="2" creationId="{D763B91A-3179-407A-9D4D-722EAFFD2190}"/>
          </ac:spMkLst>
        </pc:spChg>
        <pc:spChg chg="mod">
          <ac:chgData name="Shirley Wang (IM)" userId="da4880b3-bd35-4b71-94a0-d7a6fca1a050" providerId="ADAL" clId="{52576289-1F62-427F-B1D6-E2061BDF85A7}" dt="2018-11-23T04:13:00.277" v="1830" actId="108"/>
          <ac:spMkLst>
            <pc:docMk/>
            <pc:sldMk cId="1815617866" sldId="4342"/>
            <ac:spMk id="24" creationId="{1462EE93-1AFD-415C-A129-89B84B27836F}"/>
          </ac:spMkLst>
        </pc:spChg>
      </pc:sldChg>
      <pc:sldChg chg="addSp modSp add modTransition">
        <pc:chgData name="Shirley Wang (IM)" userId="da4880b3-bd35-4b71-94a0-d7a6fca1a050" providerId="ADAL" clId="{52576289-1F62-427F-B1D6-E2061BDF85A7}" dt="2018-11-19T10:00:30.555" v="200" actId="404"/>
        <pc:sldMkLst>
          <pc:docMk/>
          <pc:sldMk cId="3364984362" sldId="4343"/>
        </pc:sldMkLst>
        <pc:spChg chg="add mod">
          <ac:chgData name="Shirley Wang (IM)" userId="da4880b3-bd35-4b71-94a0-d7a6fca1a050" providerId="ADAL" clId="{52576289-1F62-427F-B1D6-E2061BDF85A7}" dt="2018-11-19T10:00:30.555" v="200" actId="404"/>
          <ac:spMkLst>
            <pc:docMk/>
            <pc:sldMk cId="3364984362" sldId="4343"/>
            <ac:spMk id="2" creationId="{6F0A0392-90B2-43B0-9421-F28609BA8F93}"/>
          </ac:spMkLst>
        </pc:spChg>
        <pc:spChg chg="add mod">
          <ac:chgData name="Shirley Wang (IM)" userId="da4880b3-bd35-4b71-94a0-d7a6fca1a050" providerId="ADAL" clId="{52576289-1F62-427F-B1D6-E2061BDF85A7}" dt="2018-11-19T09:47:34.490" v="110"/>
          <ac:spMkLst>
            <pc:docMk/>
            <pc:sldMk cId="3364984362" sldId="4343"/>
            <ac:spMk id="3" creationId="{2285DD90-381C-427D-A9D8-F9A10AD82F05}"/>
          </ac:spMkLst>
        </pc:spChg>
      </pc:sldChg>
      <pc:sldChg chg="modSp add">
        <pc:chgData name="Shirley Wang (IM)" userId="da4880b3-bd35-4b71-94a0-d7a6fca1a050" providerId="ADAL" clId="{52576289-1F62-427F-B1D6-E2061BDF85A7}" dt="2018-11-23T03:42:19.544" v="1695" actId="108"/>
        <pc:sldMkLst>
          <pc:docMk/>
          <pc:sldMk cId="1178330709" sldId="4344"/>
        </pc:sldMkLst>
        <pc:spChg chg="mod">
          <ac:chgData name="Shirley Wang (IM)" userId="da4880b3-bd35-4b71-94a0-d7a6fca1a050" providerId="ADAL" clId="{52576289-1F62-427F-B1D6-E2061BDF85A7}" dt="2018-11-23T03:42:19.544" v="1695" actId="108"/>
          <ac:spMkLst>
            <pc:docMk/>
            <pc:sldMk cId="1178330709" sldId="4344"/>
            <ac:spMk id="38" creationId="{CF26B265-9834-4B81-80EB-16C9BBDDACA3}"/>
          </ac:spMkLst>
        </pc:spChg>
      </pc:sldChg>
      <pc:sldChg chg="modSp add ord">
        <pc:chgData name="Shirley Wang (IM)" userId="da4880b3-bd35-4b71-94a0-d7a6fca1a050" providerId="ADAL" clId="{52576289-1F62-427F-B1D6-E2061BDF85A7}" dt="2018-11-19T10:11:29.775" v="232" actId="20577"/>
        <pc:sldMkLst>
          <pc:docMk/>
          <pc:sldMk cId="3561985167" sldId="4345"/>
        </pc:sldMkLst>
        <pc:spChg chg="mod">
          <ac:chgData name="Shirley Wang (IM)" userId="da4880b3-bd35-4b71-94a0-d7a6fca1a050" providerId="ADAL" clId="{52576289-1F62-427F-B1D6-E2061BDF85A7}" dt="2018-11-19T10:11:29.775" v="232" actId="20577"/>
          <ac:spMkLst>
            <pc:docMk/>
            <pc:sldMk cId="3561985167" sldId="4345"/>
            <ac:spMk id="2" creationId="{6F0A0392-90B2-43B0-9421-F28609BA8F93}"/>
          </ac:spMkLst>
        </pc:spChg>
      </pc:sldChg>
      <pc:sldChg chg="addSp delSp modSp add">
        <pc:chgData name="Shirley Wang (IM)" userId="da4880b3-bd35-4b71-94a0-d7a6fca1a050" providerId="ADAL" clId="{52576289-1F62-427F-B1D6-E2061BDF85A7}" dt="2018-11-26T03:13:16.334" v="1906" actId="1076"/>
        <pc:sldMkLst>
          <pc:docMk/>
          <pc:sldMk cId="144478964" sldId="4346"/>
        </pc:sldMkLst>
        <pc:spChg chg="mod">
          <ac:chgData name="Shirley Wang (IM)" userId="da4880b3-bd35-4b71-94a0-d7a6fca1a050" providerId="ADAL" clId="{52576289-1F62-427F-B1D6-E2061BDF85A7}" dt="2018-11-26T03:13:01.833" v="1886" actId="1035"/>
          <ac:spMkLst>
            <pc:docMk/>
            <pc:sldMk cId="144478964" sldId="4346"/>
            <ac:spMk id="2" creationId="{B9AE982C-1ED2-4F3F-B8A0-ADC970D0D2DD}"/>
          </ac:spMkLst>
        </pc:spChg>
        <pc:spChg chg="add mod">
          <ac:chgData name="Shirley Wang (IM)" userId="da4880b3-bd35-4b71-94a0-d7a6fca1a050" providerId="ADAL" clId="{52576289-1F62-427F-B1D6-E2061BDF85A7}" dt="2018-11-26T03:13:16.334" v="1906" actId="1076"/>
          <ac:spMkLst>
            <pc:docMk/>
            <pc:sldMk cId="144478964" sldId="4346"/>
            <ac:spMk id="3" creationId="{989A9178-F233-4162-A58E-95D61A841663}"/>
          </ac:spMkLst>
        </pc:spChg>
        <pc:spChg chg="mod">
          <ac:chgData name="Shirley Wang (IM)" userId="da4880b3-bd35-4b71-94a0-d7a6fca1a050" providerId="ADAL" clId="{52576289-1F62-427F-B1D6-E2061BDF85A7}" dt="2018-11-23T03:44:07.549" v="1705" actId="108"/>
          <ac:spMkLst>
            <pc:docMk/>
            <pc:sldMk cId="144478964" sldId="4346"/>
            <ac:spMk id="113" creationId="{84835B3A-DD8E-43CC-93E1-30DC89865412}"/>
          </ac:spMkLst>
        </pc:spChg>
        <pc:picChg chg="mod">
          <ac:chgData name="Shirley Wang (IM)" userId="da4880b3-bd35-4b71-94a0-d7a6fca1a050" providerId="ADAL" clId="{52576289-1F62-427F-B1D6-E2061BDF85A7}" dt="2018-11-26T03:13:07.428" v="1905" actId="1035"/>
          <ac:picMkLst>
            <pc:docMk/>
            <pc:sldMk cId="144478964" sldId="4346"/>
            <ac:picMk id="4" creationId="{366BD3FD-93DB-4E03-9253-0A00491CCDF6}"/>
          </ac:picMkLst>
        </pc:picChg>
        <pc:picChg chg="del">
          <ac:chgData name="Shirley Wang (IM)" userId="da4880b3-bd35-4b71-94a0-d7a6fca1a050" providerId="ADAL" clId="{52576289-1F62-427F-B1D6-E2061BDF85A7}" dt="2018-11-19T12:21:06.695" v="776" actId="478"/>
          <ac:picMkLst>
            <pc:docMk/>
            <pc:sldMk cId="144478964" sldId="4346"/>
            <ac:picMk id="7" creationId="{BFAA97A7-7B5B-4D1F-BE23-F422D088DA03}"/>
          </ac:picMkLst>
        </pc:picChg>
      </pc:sldChg>
      <pc:sldChg chg="modSp add ord">
        <pc:chgData name="Shirley Wang (IM)" userId="da4880b3-bd35-4b71-94a0-d7a6fca1a050" providerId="ADAL" clId="{52576289-1F62-427F-B1D6-E2061BDF85A7}" dt="2018-11-19T10:20:50.287" v="346" actId="20577"/>
        <pc:sldMkLst>
          <pc:docMk/>
          <pc:sldMk cId="2583603511" sldId="4347"/>
        </pc:sldMkLst>
        <pc:spChg chg="mod">
          <ac:chgData name="Shirley Wang (IM)" userId="da4880b3-bd35-4b71-94a0-d7a6fca1a050" providerId="ADAL" clId="{52576289-1F62-427F-B1D6-E2061BDF85A7}" dt="2018-11-19T10:20:50.287" v="346" actId="20577"/>
          <ac:spMkLst>
            <pc:docMk/>
            <pc:sldMk cId="2583603511" sldId="4347"/>
            <ac:spMk id="2" creationId="{6F0A0392-90B2-43B0-9421-F28609BA8F93}"/>
          </ac:spMkLst>
        </pc:spChg>
      </pc:sldChg>
      <pc:sldChg chg="modSp add ord">
        <pc:chgData name="Shirley Wang (IM)" userId="da4880b3-bd35-4b71-94a0-d7a6fca1a050" providerId="ADAL" clId="{52576289-1F62-427F-B1D6-E2061BDF85A7}" dt="2018-12-02T11:20:56.593" v="1965"/>
        <pc:sldMkLst>
          <pc:docMk/>
          <pc:sldMk cId="2497857421" sldId="4348"/>
        </pc:sldMkLst>
        <pc:spChg chg="mod">
          <ac:chgData name="Shirley Wang (IM)" userId="da4880b3-bd35-4b71-94a0-d7a6fca1a050" providerId="ADAL" clId="{52576289-1F62-427F-B1D6-E2061BDF85A7}" dt="2018-12-02T11:19:58.263" v="1944" actId="20577"/>
          <ac:spMkLst>
            <pc:docMk/>
            <pc:sldMk cId="2497857421" sldId="4348"/>
            <ac:spMk id="2" creationId="{6F0A0392-90B2-43B0-9421-F28609BA8F93}"/>
          </ac:spMkLst>
        </pc:spChg>
      </pc:sldChg>
      <pc:sldChg chg="addSp delSp modSp add ord">
        <pc:chgData name="Shirley Wang (IM)" userId="da4880b3-bd35-4b71-94a0-d7a6fca1a050" providerId="ADAL" clId="{52576289-1F62-427F-B1D6-E2061BDF85A7}" dt="2018-12-02T11:20:52.104" v="1964"/>
        <pc:sldMkLst>
          <pc:docMk/>
          <pc:sldMk cId="2656214044" sldId="4350"/>
        </pc:sldMkLst>
        <pc:spChg chg="del">
          <ac:chgData name="Shirley Wang (IM)" userId="da4880b3-bd35-4b71-94a0-d7a6fca1a050" providerId="ADAL" clId="{52576289-1F62-427F-B1D6-E2061BDF85A7}" dt="2018-11-23T03:04:30.432" v="1430" actId="478"/>
          <ac:spMkLst>
            <pc:docMk/>
            <pc:sldMk cId="2656214044" sldId="4350"/>
            <ac:spMk id="2" creationId="{D4C5F8BA-DD9D-4376-8509-72FC89781EE0}"/>
          </ac:spMkLst>
        </pc:spChg>
        <pc:spChg chg="add del mod">
          <ac:chgData name="Shirley Wang (IM)" userId="da4880b3-bd35-4b71-94a0-d7a6fca1a050" providerId="ADAL" clId="{52576289-1F62-427F-B1D6-E2061BDF85A7}" dt="2018-11-23T03:04:32.390" v="1431" actId="478"/>
          <ac:spMkLst>
            <pc:docMk/>
            <pc:sldMk cId="2656214044" sldId="4350"/>
            <ac:spMk id="4" creationId="{5DA87F54-5019-4522-A5B3-98E4ADC325A3}"/>
          </ac:spMkLst>
        </pc:spChg>
        <pc:spChg chg="add mod ord">
          <ac:chgData name="Shirley Wang (IM)" userId="da4880b3-bd35-4b71-94a0-d7a6fca1a050" providerId="ADAL" clId="{52576289-1F62-427F-B1D6-E2061BDF85A7}" dt="2018-11-23T03:29:35.481" v="1569" actId="1076"/>
          <ac:spMkLst>
            <pc:docMk/>
            <pc:sldMk cId="2656214044" sldId="4350"/>
            <ac:spMk id="5" creationId="{53979888-81B7-4B5F-B4B5-70ED2543E769}"/>
          </ac:spMkLst>
        </pc:spChg>
        <pc:spChg chg="add mod">
          <ac:chgData name="Shirley Wang (IM)" userId="da4880b3-bd35-4b71-94a0-d7a6fca1a050" providerId="ADAL" clId="{52576289-1F62-427F-B1D6-E2061BDF85A7}" dt="2018-11-23T03:22:58.618" v="1542" actId="1036"/>
          <ac:spMkLst>
            <pc:docMk/>
            <pc:sldMk cId="2656214044" sldId="4350"/>
            <ac:spMk id="6" creationId="{FF386409-3525-4A1A-8A60-22C3A15446D2}"/>
          </ac:spMkLst>
        </pc:spChg>
        <pc:spChg chg="add mod">
          <ac:chgData name="Shirley Wang (IM)" userId="da4880b3-bd35-4b71-94a0-d7a6fca1a050" providerId="ADAL" clId="{52576289-1F62-427F-B1D6-E2061BDF85A7}" dt="2018-11-23T03:22:58.618" v="1542" actId="1036"/>
          <ac:spMkLst>
            <pc:docMk/>
            <pc:sldMk cId="2656214044" sldId="4350"/>
            <ac:spMk id="9" creationId="{6999E0C9-4433-4A50-8A4E-7209A3B5C0D0}"/>
          </ac:spMkLst>
        </pc:spChg>
        <pc:spChg chg="add mod">
          <ac:chgData name="Shirley Wang (IM)" userId="da4880b3-bd35-4b71-94a0-d7a6fca1a050" providerId="ADAL" clId="{52576289-1F62-427F-B1D6-E2061BDF85A7}" dt="2018-11-23T03:35:36.873" v="1634" actId="1037"/>
          <ac:spMkLst>
            <pc:docMk/>
            <pc:sldMk cId="2656214044" sldId="4350"/>
            <ac:spMk id="10" creationId="{DB970C6A-290F-4DC8-A566-07CEF14CA583}"/>
          </ac:spMkLst>
        </pc:spChg>
        <pc:spChg chg="add mod">
          <ac:chgData name="Shirley Wang (IM)" userId="da4880b3-bd35-4b71-94a0-d7a6fca1a050" providerId="ADAL" clId="{52576289-1F62-427F-B1D6-E2061BDF85A7}" dt="2018-11-23T03:35:23.224" v="1623" actId="1037"/>
          <ac:spMkLst>
            <pc:docMk/>
            <pc:sldMk cId="2656214044" sldId="4350"/>
            <ac:spMk id="11" creationId="{9F1F6C7D-7539-41BF-B4D6-7A3C64CF49EC}"/>
          </ac:spMkLst>
        </pc:spChg>
        <pc:spChg chg="add mod">
          <ac:chgData name="Shirley Wang (IM)" userId="da4880b3-bd35-4b71-94a0-d7a6fca1a050" providerId="ADAL" clId="{52576289-1F62-427F-B1D6-E2061BDF85A7}" dt="2018-11-23T03:35:55.096" v="1659" actId="1037"/>
          <ac:spMkLst>
            <pc:docMk/>
            <pc:sldMk cId="2656214044" sldId="4350"/>
            <ac:spMk id="12" creationId="{592E7519-6B05-4CC4-97DB-961EFC2CF276}"/>
          </ac:spMkLst>
        </pc:spChg>
        <pc:spChg chg="add mod">
          <ac:chgData name="Shirley Wang (IM)" userId="da4880b3-bd35-4b71-94a0-d7a6fca1a050" providerId="ADAL" clId="{52576289-1F62-427F-B1D6-E2061BDF85A7}" dt="2018-11-23T03:35:49.201" v="1645" actId="1037"/>
          <ac:spMkLst>
            <pc:docMk/>
            <pc:sldMk cId="2656214044" sldId="4350"/>
            <ac:spMk id="13" creationId="{9F116311-80A8-43A5-A363-EF155F37B0E7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4" creationId="{54AF1ABF-B4F8-425A-93D4-D11F300E0ED0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5" creationId="{01CF7133-F172-4661-AEEE-8805F3F81D3F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6" creationId="{FCA1E9BB-3F5E-4564-9BD8-1933156F7C00}"/>
          </ac:spMkLst>
        </pc:spChg>
        <pc:spChg chg="add mod">
          <ac:chgData name="Shirley Wang (IM)" userId="da4880b3-bd35-4b71-94a0-d7a6fca1a050" providerId="ADAL" clId="{52576289-1F62-427F-B1D6-E2061BDF85A7}" dt="2018-11-23T03:36:57.180" v="1684" actId="554"/>
          <ac:spMkLst>
            <pc:docMk/>
            <pc:sldMk cId="2656214044" sldId="4350"/>
            <ac:spMk id="17" creationId="{B57DF84E-BA03-496C-8F32-6B15421F7E7F}"/>
          </ac:spMkLst>
        </pc:spChg>
        <pc:picChg chg="add del mod">
          <ac:chgData name="Shirley Wang (IM)" userId="da4880b3-bd35-4b71-94a0-d7a6fca1a050" providerId="ADAL" clId="{52576289-1F62-427F-B1D6-E2061BDF85A7}" dt="2018-11-23T03:06:26.019" v="1448" actId="478"/>
          <ac:picMkLst>
            <pc:docMk/>
            <pc:sldMk cId="2656214044" sldId="4350"/>
            <ac:picMk id="7" creationId="{EEDFFFA1-1535-47EB-A3D8-0C0166E7E0B6}"/>
          </ac:picMkLst>
        </pc:picChg>
        <pc:picChg chg="add mod">
          <ac:chgData name="Shirley Wang (IM)" userId="da4880b3-bd35-4b71-94a0-d7a6fca1a050" providerId="ADAL" clId="{52576289-1F62-427F-B1D6-E2061BDF85A7}" dt="2018-11-23T03:22:58.618" v="1542" actId="1036"/>
          <ac:picMkLst>
            <pc:docMk/>
            <pc:sldMk cId="2656214044" sldId="4350"/>
            <ac:picMk id="8" creationId="{B4157E4E-DB31-4304-97F9-4235A47F50D6}"/>
          </ac:picMkLst>
        </pc:picChg>
        <pc:picChg chg="add mod">
          <ac:chgData name="Shirley Wang (IM)" userId="da4880b3-bd35-4b71-94a0-d7a6fca1a050" providerId="ADAL" clId="{52576289-1F62-427F-B1D6-E2061BDF85A7}" dt="2018-11-23T03:35:23.224" v="1623" actId="1037"/>
          <ac:picMkLst>
            <pc:docMk/>
            <pc:sldMk cId="2656214044" sldId="4350"/>
            <ac:picMk id="19" creationId="{B7024731-9B99-423C-ADB1-98AE44521231}"/>
          </ac:picMkLst>
        </pc:picChg>
        <pc:picChg chg="add mod">
          <ac:chgData name="Shirley Wang (IM)" userId="da4880b3-bd35-4b71-94a0-d7a6fca1a050" providerId="ADAL" clId="{52576289-1F62-427F-B1D6-E2061BDF85A7}" dt="2018-11-23T03:35:36.873" v="1634" actId="1037"/>
          <ac:picMkLst>
            <pc:docMk/>
            <pc:sldMk cId="2656214044" sldId="4350"/>
            <ac:picMk id="21" creationId="{3D2A56B4-AD9C-4AD5-A492-578A473DB1B0}"/>
          </ac:picMkLst>
        </pc:picChg>
        <pc:picChg chg="add del mod">
          <ac:chgData name="Shirley Wang (IM)" userId="da4880b3-bd35-4b71-94a0-d7a6fca1a050" providerId="ADAL" clId="{52576289-1F62-427F-B1D6-E2061BDF85A7}" dt="2018-11-23T03:21:23.364" v="1521" actId="478"/>
          <ac:picMkLst>
            <pc:docMk/>
            <pc:sldMk cId="2656214044" sldId="4350"/>
            <ac:picMk id="23" creationId="{B816A0B4-B7CE-490C-AA28-0EDAC88B3F02}"/>
          </ac:picMkLst>
        </pc:picChg>
        <pc:picChg chg="add mod">
          <ac:chgData name="Shirley Wang (IM)" userId="da4880b3-bd35-4b71-94a0-d7a6fca1a050" providerId="ADAL" clId="{52576289-1F62-427F-B1D6-E2061BDF85A7}" dt="2018-11-23T03:34:51.943" v="1616" actId="408"/>
          <ac:picMkLst>
            <pc:docMk/>
            <pc:sldMk cId="2656214044" sldId="4350"/>
            <ac:picMk id="25" creationId="{F133A09A-CDB5-48E6-B946-9176594272C7}"/>
          </ac:picMkLst>
        </pc:picChg>
        <pc:picChg chg="add mod">
          <ac:chgData name="Shirley Wang (IM)" userId="da4880b3-bd35-4b71-94a0-d7a6fca1a050" providerId="ADAL" clId="{52576289-1F62-427F-B1D6-E2061BDF85A7}" dt="2018-11-23T03:34:51.943" v="1616" actId="408"/>
          <ac:picMkLst>
            <pc:docMk/>
            <pc:sldMk cId="2656214044" sldId="4350"/>
            <ac:picMk id="27" creationId="{E2363892-779D-4074-90B0-4E9A77A5C4B6}"/>
          </ac:picMkLst>
        </pc:picChg>
      </pc:sldChg>
      <pc:sldChg chg="addSp delSp modSp add">
        <pc:chgData name="Shirley Wang (IM)" userId="da4880b3-bd35-4b71-94a0-d7a6fca1a050" providerId="ADAL" clId="{52576289-1F62-427F-B1D6-E2061BDF85A7}" dt="2018-12-02T11:25:29.332" v="1979" actId="478"/>
        <pc:sldMkLst>
          <pc:docMk/>
          <pc:sldMk cId="764790800" sldId="4351"/>
        </pc:sldMkLst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5" creationId="{AAB7AB2E-9D5C-4788-B2F4-EE700A0388EF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6" creationId="{8B791EFB-96A9-4E66-ACEC-C194A559409A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7" creationId="{38449F09-C938-4C36-91F1-0E86A9B3417A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0" creationId="{1DCE89DA-0FB9-4094-AC69-A37A7F5B3240}"/>
          </ac:spMkLst>
        </pc:spChg>
        <pc:spChg chg="add del">
          <ac:chgData name="Shirley Wang (IM)" userId="da4880b3-bd35-4b71-94a0-d7a6fca1a050" providerId="ADAL" clId="{52576289-1F62-427F-B1D6-E2061BDF85A7}" dt="2018-12-02T11:25:29.332" v="1979" actId="478"/>
          <ac:spMkLst>
            <pc:docMk/>
            <pc:sldMk cId="764790800" sldId="4351"/>
            <ac:spMk id="11" creationId="{8599B32A-E0C9-4676-B074-E98552E3EE5B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2" creationId="{F6FE07D9-C13C-4DE2-8538-EF180B5821AF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3" creationId="{434252A1-28FB-4074-B493-D608E904E0A0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14" creationId="{A4D9C763-FE96-4705-BBA1-754982D1464A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71" creationId="{643E2A7F-6E30-4334-AC9D-4359271E42A6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3" creationId="{04401A94-2B95-4788-A3F9-5C6010700C84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4" creationId="{FFC45EA7-11FE-454D-BB8B-376CDA1CE5FB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5" creationId="{04404849-2604-463D-8192-3E4BD6AEE1DF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6" creationId="{FD68BDF6-CA54-4CAA-829E-B0A404874D92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7" creationId="{2E11F27E-562A-4641-8F70-0AFF53915489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89" creationId="{97732004-1A4C-4443-8298-8E71973144A3}"/>
          </ac:spMkLst>
        </pc:spChg>
        <pc:spChg chg="add del">
          <ac:chgData name="Shirley Wang (IM)" userId="da4880b3-bd35-4b71-94a0-d7a6fca1a050" providerId="ADAL" clId="{52576289-1F62-427F-B1D6-E2061BDF85A7}" dt="2018-12-02T11:24:58.744" v="1978" actId="478"/>
          <ac:spMkLst>
            <pc:docMk/>
            <pc:sldMk cId="764790800" sldId="4351"/>
            <ac:spMk id="90" creationId="{83E8CD5A-4B0D-4E69-9FBB-8D2CA97C1735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91" creationId="{BC3D513F-7288-44F9-9294-3F4973BA45DD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93" creationId="{E3A241F0-21B9-47D7-A79F-A9E535EF3FC4}"/>
          </ac:spMkLst>
        </pc:spChg>
        <pc:spChg chg="add">
          <ac:chgData name="Shirley Wang (IM)" userId="da4880b3-bd35-4b71-94a0-d7a6fca1a050" providerId="ADAL" clId="{52576289-1F62-427F-B1D6-E2061BDF85A7}" dt="2018-12-02T11:24:50.488" v="1976"/>
          <ac:spMkLst>
            <pc:docMk/>
            <pc:sldMk cId="764790800" sldId="4351"/>
            <ac:spMk id="94" creationId="{C2DAE59F-3BF7-4734-B94A-367F6C742DC4}"/>
          </ac:spMkLst>
        </pc:spChg>
        <pc:spChg chg="mod">
          <ac:chgData name="Shirley Wang (IM)" userId="da4880b3-bd35-4b71-94a0-d7a6fca1a050" providerId="ADAL" clId="{52576289-1F62-427F-B1D6-E2061BDF85A7}" dt="2018-12-02T11:24:23.230" v="1972" actId="6549"/>
          <ac:spMkLst>
            <pc:docMk/>
            <pc:sldMk cId="764790800" sldId="4351"/>
            <ac:spMk id="159" creationId="{2D38ADE1-09D7-46ED-B830-3122B0EDF1CA}"/>
          </ac:spMkLst>
        </pc:s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15" creationId="{3AABF78C-A11E-4DD9-9A98-C1CD78CA4978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29" creationId="{8A03717A-8594-4713-8DE5-8B6A85722A08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45" creationId="{652EE3C2-464C-4F61-977A-EC4E06D2032C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54" creationId="{EE10FCD9-CF09-409D-9494-7D6E20EBC8EE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65" creationId="{E6E34673-8320-494E-9355-5D7373268EB5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72" creationId="{05896833-F843-4227-902F-1FC1F976B229}"/>
          </ac:grpSpMkLst>
        </pc:grpChg>
        <pc:grpChg chg="add">
          <ac:chgData name="Shirley Wang (IM)" userId="da4880b3-bd35-4b71-94a0-d7a6fca1a050" providerId="ADAL" clId="{52576289-1F62-427F-B1D6-E2061BDF85A7}" dt="2018-12-02T11:24:50.488" v="1976"/>
          <ac:grpSpMkLst>
            <pc:docMk/>
            <pc:sldMk cId="764790800" sldId="4351"/>
            <ac:grpSpMk id="80" creationId="{1D6A1725-95CF-4A8E-A877-93FC73849533}"/>
          </ac:grpSpMkLst>
        </pc:grpChg>
        <pc:picChg chg="add">
          <ac:chgData name="Shirley Wang (IM)" userId="da4880b3-bd35-4b71-94a0-d7a6fca1a050" providerId="ADAL" clId="{52576289-1F62-427F-B1D6-E2061BDF85A7}" dt="2018-12-02T11:24:50.488" v="1976"/>
          <ac:picMkLst>
            <pc:docMk/>
            <pc:sldMk cId="764790800" sldId="4351"/>
            <ac:picMk id="95" creationId="{AB9145F5-7D05-4400-9F36-3F7C247695FA}"/>
          </ac:picMkLst>
        </pc:picChg>
        <pc:picChg chg="add">
          <ac:chgData name="Shirley Wang (IM)" userId="da4880b3-bd35-4b71-94a0-d7a6fca1a050" providerId="ADAL" clId="{52576289-1F62-427F-B1D6-E2061BDF85A7}" dt="2018-12-02T11:24:50.488" v="1976"/>
          <ac:picMkLst>
            <pc:docMk/>
            <pc:sldMk cId="764790800" sldId="4351"/>
            <ac:picMk id="96" creationId="{CE912937-96B4-4814-9B0F-2C9EDB8782DC}"/>
          </ac:picMkLst>
        </pc:pic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8" creationId="{424C9B85-10B5-4EAF-8EAB-5F4CEB20D66E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9" creationId="{2DB4AB5D-B77D-463B-8BE8-7367184C8FFC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0" creationId="{289C201B-BDD0-47C1-A002-032C88B051C8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1" creationId="{A0953159-B614-4014-B2A8-F3BCF6E1604B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2" creationId="{AFFB9E69-706A-487E-8726-27C8E5CCB939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3" creationId="{AC628E4C-A7AD-46A7-ADF3-DA9942BCCA03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64" creationId="{664EEE28-2950-4FEC-B238-E9A347F8183C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88" creationId="{811BF68E-FF3D-4C95-998C-25D2EADFC370}"/>
          </ac:cxnSpMkLst>
        </pc:cxnChg>
        <pc:cxnChg chg="add">
          <ac:chgData name="Shirley Wang (IM)" userId="da4880b3-bd35-4b71-94a0-d7a6fca1a050" providerId="ADAL" clId="{52576289-1F62-427F-B1D6-E2061BDF85A7}" dt="2018-12-02T11:24:50.488" v="1976"/>
          <ac:cxnSpMkLst>
            <pc:docMk/>
            <pc:sldMk cId="764790800" sldId="4351"/>
            <ac:cxnSpMk id="92" creationId="{B9F6B9FF-73C3-4C67-A907-49C11078F9AF}"/>
          </ac:cxnSpMkLst>
        </pc:cxnChg>
      </pc:sldChg>
      <pc:sldMasterChg chg="delSldLayout">
        <pc:chgData name="Shirley Wang (IM)" userId="da4880b3-bd35-4b71-94a0-d7a6fca1a050" providerId="ADAL" clId="{52576289-1F62-427F-B1D6-E2061BDF85A7}" dt="2018-11-19T10:36:15.924" v="656" actId="2696"/>
        <pc:sldMasterMkLst>
          <pc:docMk/>
          <pc:sldMasterMk cId="1090558875" sldId="2147483714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A1EE25-B261-40F1-81DC-C22CA2FC3D9C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B4578D-97F1-4707-8C41-133C28C5E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963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2/2/2018 4:20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911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1CD80A-2C6F-4E39-942E-4436C667F5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891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6310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 4:20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2064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 4:20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1200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 4:20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15096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Build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 4:20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0262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0074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8305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 4:20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77003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 4:20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32801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69BD2-67F6-43A1-A2DB-9D24960C08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0042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 4:20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85969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 4:20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2353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2/2/2018 4:20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5426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A17D118-1690-458F-B4D2-F9DA5D6F5033}" type="datetime8">
              <a:rPr lang="en-US" smtClean="0">
                <a:solidFill>
                  <a:prstClr val="black"/>
                </a:solidFill>
              </a:rPr>
              <a:pPr/>
              <a:t>12/2/2018 4:20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66786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 4:20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7491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 4:20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086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4306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4578D-97F1-4707-8C41-133C28C5E7F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162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 4:20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52086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79545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E169B2-F375-494B-85A6-25064D2909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108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6.png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5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5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1.jp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1.jpg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4.pn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7.png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6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2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2095308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85824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39546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89160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976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68436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8833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542910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020396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1707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47413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64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97689522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0888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229295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ity slid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020772" y="2291365"/>
            <a:ext cx="10249783" cy="1009695"/>
            <a:chOff x="1041241" y="2198265"/>
            <a:chExt cx="10455312" cy="1029795"/>
          </a:xfrm>
        </p:grpSpPr>
        <p:sp>
          <p:nvSpPr>
            <p:cNvPr id="3" name="laptop"/>
            <p:cNvSpPr>
              <a:spLocks noChangeAspect="1" noEditPoints="1"/>
            </p:cNvSpPr>
            <p:nvPr userDrawn="1"/>
          </p:nvSpPr>
          <p:spPr bwMode="auto">
            <a:xfrm>
              <a:off x="9891754" y="2198265"/>
              <a:ext cx="1417556" cy="843914"/>
            </a:xfrm>
            <a:custGeom>
              <a:avLst/>
              <a:gdLst>
                <a:gd name="T0" fmla="*/ 212 w 257"/>
                <a:gd name="T1" fmla="*/ 107 h 153"/>
                <a:gd name="T2" fmla="*/ 43 w 257"/>
                <a:gd name="T3" fmla="*/ 107 h 153"/>
                <a:gd name="T4" fmla="*/ 43 w 257"/>
                <a:gd name="T5" fmla="*/ 0 h 153"/>
                <a:gd name="T6" fmla="*/ 212 w 257"/>
                <a:gd name="T7" fmla="*/ 0 h 153"/>
                <a:gd name="T8" fmla="*/ 212 w 257"/>
                <a:gd name="T9" fmla="*/ 107 h 153"/>
                <a:gd name="T10" fmla="*/ 43 w 257"/>
                <a:gd name="T11" fmla="*/ 107 h 153"/>
                <a:gd name="T12" fmla="*/ 0 w 257"/>
                <a:gd name="T13" fmla="*/ 153 h 153"/>
                <a:gd name="T14" fmla="*/ 257 w 257"/>
                <a:gd name="T15" fmla="*/ 153 h 153"/>
                <a:gd name="T16" fmla="*/ 212 w 257"/>
                <a:gd name="T17" fmla="*/ 10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153">
                  <a:moveTo>
                    <a:pt x="212" y="107"/>
                  </a:moveTo>
                  <a:lnTo>
                    <a:pt x="43" y="107"/>
                  </a:lnTo>
                  <a:lnTo>
                    <a:pt x="43" y="0"/>
                  </a:lnTo>
                  <a:lnTo>
                    <a:pt x="212" y="0"/>
                  </a:lnTo>
                  <a:lnTo>
                    <a:pt x="212" y="107"/>
                  </a:lnTo>
                  <a:moveTo>
                    <a:pt x="43" y="107"/>
                  </a:moveTo>
                  <a:lnTo>
                    <a:pt x="0" y="153"/>
                  </a:lnTo>
                  <a:lnTo>
                    <a:pt x="257" y="153"/>
                  </a:lnTo>
                  <a:lnTo>
                    <a:pt x="212" y="10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" name="phone"/>
            <p:cNvSpPr>
              <a:spLocks noChangeAspect="1" noEditPoints="1"/>
            </p:cNvSpPr>
            <p:nvPr userDrawn="1"/>
          </p:nvSpPr>
          <p:spPr bwMode="auto">
            <a:xfrm>
              <a:off x="4177456" y="2253648"/>
              <a:ext cx="473065" cy="757539"/>
            </a:xfrm>
            <a:custGeom>
              <a:avLst/>
              <a:gdLst>
                <a:gd name="T0" fmla="*/ 148 w 148"/>
                <a:gd name="T1" fmla="*/ 112 h 237"/>
                <a:gd name="T2" fmla="*/ 148 w 148"/>
                <a:gd name="T3" fmla="*/ 237 h 237"/>
                <a:gd name="T4" fmla="*/ 0 w 148"/>
                <a:gd name="T5" fmla="*/ 237 h 237"/>
                <a:gd name="T6" fmla="*/ 0 w 148"/>
                <a:gd name="T7" fmla="*/ 0 h 237"/>
                <a:gd name="T8" fmla="*/ 148 w 148"/>
                <a:gd name="T9" fmla="*/ 0 h 237"/>
                <a:gd name="T10" fmla="*/ 148 w 148"/>
                <a:gd name="T11" fmla="*/ 112 h 237"/>
                <a:gd name="T12" fmla="*/ 0 w 148"/>
                <a:gd name="T13" fmla="*/ 29 h 237"/>
                <a:gd name="T14" fmla="*/ 148 w 148"/>
                <a:gd name="T15" fmla="*/ 29 h 237"/>
                <a:gd name="T16" fmla="*/ 0 w 148"/>
                <a:gd name="T17" fmla="*/ 172 h 237"/>
                <a:gd name="T18" fmla="*/ 148 w 148"/>
                <a:gd name="T19" fmla="*/ 172 h 237"/>
                <a:gd name="T20" fmla="*/ 66 w 148"/>
                <a:gd name="T21" fmla="*/ 204 h 237"/>
                <a:gd name="T22" fmla="*/ 82 w 148"/>
                <a:gd name="T23" fmla="*/ 20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37">
                  <a:moveTo>
                    <a:pt x="148" y="112"/>
                  </a:moveTo>
                  <a:lnTo>
                    <a:pt x="148" y="237"/>
                  </a:lnTo>
                  <a:lnTo>
                    <a:pt x="0" y="237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112"/>
                  </a:lnTo>
                  <a:moveTo>
                    <a:pt x="0" y="29"/>
                  </a:moveTo>
                  <a:lnTo>
                    <a:pt x="148" y="29"/>
                  </a:lnTo>
                  <a:moveTo>
                    <a:pt x="0" y="172"/>
                  </a:moveTo>
                  <a:lnTo>
                    <a:pt x="148" y="172"/>
                  </a:lnTo>
                  <a:moveTo>
                    <a:pt x="66" y="204"/>
                  </a:moveTo>
                  <a:lnTo>
                    <a:pt x="82" y="20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tablet_2"/>
            <p:cNvSpPr>
              <a:spLocks noChangeAspect="1" noEditPoints="1"/>
            </p:cNvSpPr>
            <p:nvPr userDrawn="1"/>
          </p:nvSpPr>
          <p:spPr bwMode="auto">
            <a:xfrm>
              <a:off x="6815622" y="2222769"/>
              <a:ext cx="1118473" cy="819293"/>
            </a:xfrm>
            <a:custGeom>
              <a:avLst/>
              <a:gdLst>
                <a:gd name="T0" fmla="*/ 243 w 243"/>
                <a:gd name="T1" fmla="*/ 83 h 178"/>
                <a:gd name="T2" fmla="*/ 243 w 243"/>
                <a:gd name="T3" fmla="*/ 178 h 178"/>
                <a:gd name="T4" fmla="*/ 0 w 243"/>
                <a:gd name="T5" fmla="*/ 178 h 178"/>
                <a:gd name="T6" fmla="*/ 0 w 243"/>
                <a:gd name="T7" fmla="*/ 0 h 178"/>
                <a:gd name="T8" fmla="*/ 243 w 243"/>
                <a:gd name="T9" fmla="*/ 0 h 178"/>
                <a:gd name="T10" fmla="*/ 243 w 243"/>
                <a:gd name="T11" fmla="*/ 83 h 178"/>
                <a:gd name="T12" fmla="*/ 113 w 243"/>
                <a:gd name="T13" fmla="*/ 147 h 178"/>
                <a:gd name="T14" fmla="*/ 129 w 243"/>
                <a:gd name="T15" fmla="*/ 14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78">
                  <a:moveTo>
                    <a:pt x="243" y="83"/>
                  </a:moveTo>
                  <a:lnTo>
                    <a:pt x="243" y="178"/>
                  </a:lnTo>
                  <a:lnTo>
                    <a:pt x="0" y="178"/>
                  </a:lnTo>
                  <a:lnTo>
                    <a:pt x="0" y="0"/>
                  </a:lnTo>
                  <a:lnTo>
                    <a:pt x="243" y="0"/>
                  </a:lnTo>
                  <a:lnTo>
                    <a:pt x="243" y="83"/>
                  </a:lnTo>
                  <a:moveTo>
                    <a:pt x="113" y="147"/>
                  </a:moveTo>
                  <a:lnTo>
                    <a:pt x="129" y="14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camera"/>
            <p:cNvSpPr>
              <a:spLocks noChangeAspect="1" noEditPoints="1"/>
            </p:cNvSpPr>
            <p:nvPr userDrawn="1"/>
          </p:nvSpPr>
          <p:spPr bwMode="auto">
            <a:xfrm>
              <a:off x="1041241" y="2295852"/>
              <a:ext cx="842296" cy="673131"/>
            </a:xfrm>
            <a:custGeom>
              <a:avLst/>
              <a:gdLst>
                <a:gd name="T0" fmla="*/ 0 w 330"/>
                <a:gd name="T1" fmla="*/ 24 h 264"/>
                <a:gd name="T2" fmla="*/ 87 w 330"/>
                <a:gd name="T3" fmla="*/ 24 h 264"/>
                <a:gd name="T4" fmla="*/ 111 w 330"/>
                <a:gd name="T5" fmla="*/ 0 h 264"/>
                <a:gd name="T6" fmla="*/ 217 w 330"/>
                <a:gd name="T7" fmla="*/ 0 h 264"/>
                <a:gd name="T8" fmla="*/ 242 w 330"/>
                <a:gd name="T9" fmla="*/ 24 h 264"/>
                <a:gd name="T10" fmla="*/ 330 w 330"/>
                <a:gd name="T11" fmla="*/ 24 h 264"/>
                <a:gd name="T12" fmla="*/ 330 w 330"/>
                <a:gd name="T13" fmla="*/ 264 h 264"/>
                <a:gd name="T14" fmla="*/ 0 w 330"/>
                <a:gd name="T15" fmla="*/ 264 h 264"/>
                <a:gd name="T16" fmla="*/ 0 w 330"/>
                <a:gd name="T17" fmla="*/ 24 h 264"/>
                <a:gd name="T18" fmla="*/ 165 w 330"/>
                <a:gd name="T19" fmla="*/ 221 h 264"/>
                <a:gd name="T20" fmla="*/ 242 w 330"/>
                <a:gd name="T21" fmla="*/ 144 h 264"/>
                <a:gd name="T22" fmla="*/ 165 w 330"/>
                <a:gd name="T23" fmla="*/ 67 h 264"/>
                <a:gd name="T24" fmla="*/ 88 w 330"/>
                <a:gd name="T25" fmla="*/ 144 h 264"/>
                <a:gd name="T26" fmla="*/ 165 w 330"/>
                <a:gd name="T27" fmla="*/ 221 h 264"/>
                <a:gd name="T28" fmla="*/ 42 w 330"/>
                <a:gd name="T29" fmla="*/ 73 h 264"/>
                <a:gd name="T30" fmla="*/ 48 w 330"/>
                <a:gd name="T31" fmla="*/ 67 h 264"/>
                <a:gd name="T32" fmla="*/ 42 w 330"/>
                <a:gd name="T33" fmla="*/ 61 h 264"/>
                <a:gd name="T34" fmla="*/ 36 w 330"/>
                <a:gd name="T35" fmla="*/ 67 h 264"/>
                <a:gd name="T36" fmla="*/ 42 w 330"/>
                <a:gd name="T37" fmla="*/ 7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264">
                  <a:moveTo>
                    <a:pt x="0" y="24"/>
                  </a:moveTo>
                  <a:cubicBezTo>
                    <a:pt x="87" y="24"/>
                    <a:pt x="87" y="24"/>
                    <a:pt x="87" y="2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42" y="24"/>
                    <a:pt x="242" y="24"/>
                    <a:pt x="242" y="24"/>
                  </a:cubicBezTo>
                  <a:cubicBezTo>
                    <a:pt x="330" y="24"/>
                    <a:pt x="330" y="24"/>
                    <a:pt x="330" y="24"/>
                  </a:cubicBezTo>
                  <a:cubicBezTo>
                    <a:pt x="330" y="264"/>
                    <a:pt x="330" y="264"/>
                    <a:pt x="330" y="264"/>
                  </a:cubicBezTo>
                  <a:cubicBezTo>
                    <a:pt x="0" y="264"/>
                    <a:pt x="0" y="264"/>
                    <a:pt x="0" y="264"/>
                  </a:cubicBezTo>
                  <a:lnTo>
                    <a:pt x="0" y="24"/>
                  </a:lnTo>
                  <a:close/>
                  <a:moveTo>
                    <a:pt x="165" y="221"/>
                  </a:moveTo>
                  <a:cubicBezTo>
                    <a:pt x="208" y="221"/>
                    <a:pt x="242" y="187"/>
                    <a:pt x="242" y="144"/>
                  </a:cubicBezTo>
                  <a:cubicBezTo>
                    <a:pt x="242" y="101"/>
                    <a:pt x="208" y="67"/>
                    <a:pt x="165" y="67"/>
                  </a:cubicBezTo>
                  <a:cubicBezTo>
                    <a:pt x="123" y="67"/>
                    <a:pt x="88" y="101"/>
                    <a:pt x="88" y="144"/>
                  </a:cubicBezTo>
                  <a:cubicBezTo>
                    <a:pt x="88" y="187"/>
                    <a:pt x="123" y="221"/>
                    <a:pt x="165" y="221"/>
                  </a:cubicBezTo>
                  <a:close/>
                  <a:moveTo>
                    <a:pt x="42" y="73"/>
                  </a:moveTo>
                  <a:cubicBezTo>
                    <a:pt x="45" y="73"/>
                    <a:pt x="48" y="70"/>
                    <a:pt x="48" y="67"/>
                  </a:cubicBezTo>
                  <a:cubicBezTo>
                    <a:pt x="48" y="64"/>
                    <a:pt x="45" y="61"/>
                    <a:pt x="42" y="61"/>
                  </a:cubicBezTo>
                  <a:cubicBezTo>
                    <a:pt x="38" y="61"/>
                    <a:pt x="36" y="64"/>
                    <a:pt x="36" y="67"/>
                  </a:cubicBezTo>
                  <a:cubicBezTo>
                    <a:pt x="36" y="70"/>
                    <a:pt x="38" y="73"/>
                    <a:pt x="42" y="7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82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Multiplication Sign 8"/>
            <p:cNvSpPr/>
            <p:nvPr userDrawn="1"/>
          </p:nvSpPr>
          <p:spPr bwMode="auto">
            <a:xfrm>
              <a:off x="1654939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Multiplication Sign 9"/>
            <p:cNvSpPr/>
            <p:nvPr userDrawn="1"/>
          </p:nvSpPr>
          <p:spPr bwMode="auto">
            <a:xfrm>
              <a:off x="4406053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Multiplication Sign 10"/>
            <p:cNvSpPr/>
            <p:nvPr userDrawn="1"/>
          </p:nvSpPr>
          <p:spPr bwMode="auto">
            <a:xfrm>
              <a:off x="770332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Multiplication Sign 12"/>
            <p:cNvSpPr/>
            <p:nvPr userDrawn="1"/>
          </p:nvSpPr>
          <p:spPr bwMode="auto">
            <a:xfrm>
              <a:off x="11039358" y="2770865"/>
              <a:ext cx="457195" cy="457195"/>
            </a:xfrm>
            <a:prstGeom prst="mathMultiply">
              <a:avLst>
                <a:gd name="adj1" fmla="val 16854"/>
              </a:avLst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629379" y="4403248"/>
            <a:ext cx="10933243" cy="2163685"/>
          </a:xfrm>
          <a:prstGeom prst="rect">
            <a:avLst/>
          </a:prstGeom>
          <a:noFill/>
        </p:spPr>
        <p:txBody>
          <a:bodyPr wrap="none" lIns="179285" tIns="143428" rIns="179285" bIns="143428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157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157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176"/>
              </a:spcBef>
              <a:spcAft>
                <a:spcPts val="588"/>
              </a:spcAft>
            </a:pPr>
            <a:r>
              <a:rPr lang="en-US" sz="2157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</p:spTree>
    <p:extLst>
      <p:ext uri="{BB962C8B-B14F-4D97-AF65-F5344CB8AC3E}">
        <p14:creationId xmlns:p14="http://schemas.microsoft.com/office/powerpoint/2010/main" val="1833391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35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640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061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83472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1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237240"/>
            <a:ext cx="12192000" cy="2441438"/>
          </a:xfrm>
          <a:prstGeom prst="rect">
            <a:avLst/>
          </a:prstGeom>
        </p:spPr>
        <p:txBody>
          <a:bodyPr lIns="182880" tIns="182880" rIns="182880" bIns="182880"/>
          <a:lstStyle>
            <a:lvl1pPr marL="0" indent="0">
              <a:spcBef>
                <a:spcPts val="1333"/>
              </a:spcBef>
              <a:buFont typeface="Arial"/>
              <a:buNone/>
              <a:defRPr sz="3200" baseline="0">
                <a:solidFill>
                  <a:schemeClr val="tx1"/>
                </a:solidFill>
                <a:latin typeface="Segoe UI Light"/>
                <a:cs typeface="Segoe UI Light"/>
              </a:defRPr>
            </a:lvl1pPr>
            <a:lvl2pPr marL="883729" indent="-457101">
              <a:spcBef>
                <a:spcPts val="1333"/>
              </a:spcBef>
              <a:buFont typeface="Arial" panose="020B0604020202020204" pitchFamily="34" charset="0"/>
              <a:buChar char="•"/>
              <a:defRPr sz="3200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1218935">
              <a:spcBef>
                <a:spcPts val="1333"/>
              </a:spcBef>
              <a:buFont typeface="Arial"/>
              <a:buChar char="•"/>
              <a:defRPr sz="2932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706509">
              <a:spcBef>
                <a:spcPts val="1333"/>
              </a:spcBef>
              <a:buFont typeface="Arial"/>
              <a:buChar char="•"/>
              <a:defRPr sz="2666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1950296" indent="243787">
              <a:spcBef>
                <a:spcPts val="1333"/>
              </a:spcBef>
              <a:buFont typeface="Arial"/>
              <a:buChar char="•"/>
              <a:tabLst>
                <a:tab pos="2135254" algn="l"/>
              </a:tabLst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1"/>
            <a:r>
              <a:rPr lang="en-US" dirty="0"/>
              <a:t>Bullet first level</a:t>
            </a:r>
          </a:p>
          <a:p>
            <a:pPr lvl="2"/>
            <a:r>
              <a:rPr lang="en-US" dirty="0"/>
              <a:t>Bullet second level</a:t>
            </a:r>
          </a:p>
          <a:p>
            <a:pPr lvl="3"/>
            <a:r>
              <a:rPr lang="en-US" dirty="0"/>
              <a:t>Bullet third level</a:t>
            </a:r>
          </a:p>
          <a:p>
            <a:pPr lvl="4"/>
            <a:r>
              <a:rPr lang="en-US" dirty="0"/>
              <a:t>Bullet fourth level</a:t>
            </a:r>
          </a:p>
        </p:txBody>
      </p:sp>
      <p:sp>
        <p:nvSpPr>
          <p:cNvPr id="20" name="Title 1"/>
          <p:cNvSpPr>
            <a:spLocks noGrp="1" noChangeAspect="1"/>
          </p:cNvSpPr>
          <p:nvPr>
            <p:ph type="title"/>
          </p:nvPr>
        </p:nvSpPr>
        <p:spPr>
          <a:xfrm>
            <a:off x="139021" y="-2"/>
            <a:ext cx="12052979" cy="1211893"/>
          </a:xfrm>
          <a:prstGeom prst="rect">
            <a:avLst/>
          </a:prstGeom>
        </p:spPr>
        <p:txBody>
          <a:bodyPr lIns="91440" tIns="91440" bIns="91440" anchor="ctr"/>
          <a:lstStyle>
            <a:lvl1pPr algn="l">
              <a:defRPr sz="5332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264777" y="6461377"/>
            <a:ext cx="1684867" cy="16741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 dirty="0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243854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35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24" indent="0" algn="ctr">
              <a:buNone/>
              <a:defRPr sz="2000"/>
            </a:lvl2pPr>
            <a:lvl3pPr marL="914246" indent="0" algn="ctr">
              <a:buNone/>
              <a:defRPr sz="1800"/>
            </a:lvl3pPr>
            <a:lvl4pPr marL="1371370" indent="0" algn="ctr">
              <a:buNone/>
              <a:defRPr sz="1600"/>
            </a:lvl4pPr>
            <a:lvl5pPr marL="1828494" indent="0" algn="ctr">
              <a:buNone/>
              <a:defRPr sz="1600"/>
            </a:lvl5pPr>
            <a:lvl6pPr marL="2285617" indent="0" algn="ctr">
              <a:buNone/>
              <a:defRPr sz="1600"/>
            </a:lvl6pPr>
            <a:lvl7pPr marL="2742740" indent="0" algn="ctr">
              <a:buNone/>
              <a:defRPr sz="1600"/>
            </a:lvl7pPr>
            <a:lvl8pPr marL="3199864" indent="0" algn="ctr">
              <a:buNone/>
              <a:defRPr sz="1600"/>
            </a:lvl8pPr>
            <a:lvl9pPr marL="365698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9498">
              <a:defRPr/>
            </a:pPr>
            <a:fld id="{1C08D212-65BB-4ACD-9568-9335E47E0F62}" type="datetimeFigureOut">
              <a:rPr lang="en-US" sz="2400" smtClean="0">
                <a:solidFill>
                  <a:srgbClr val="404040"/>
                </a:solidFill>
                <a:latin typeface="Segoe UI"/>
              </a:rPr>
              <a:pPr defTabSz="609498">
                <a:defRPr/>
              </a:pPr>
              <a:t>12/2/2018</a:t>
            </a:fld>
            <a:endParaRPr lang="en-US" sz="240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498">
              <a:defRPr/>
            </a:pPr>
            <a:endParaRPr lang="en-US" sz="240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498">
              <a:defRPr/>
            </a:pPr>
            <a:fld id="{5FA75C71-C1E2-4770-9019-E1F3F9F7A94A}" type="slidenum">
              <a:rPr lang="en-US" sz="2400" smtClean="0">
                <a:solidFill>
                  <a:srgbClr val="404040"/>
                </a:solidFill>
                <a:latin typeface="Segoe UI"/>
              </a:rPr>
              <a:pPr defTabSz="609498">
                <a:defRPr/>
              </a:pPr>
              <a:t>‹#›</a:t>
            </a:fld>
            <a:endParaRPr lang="en-US" sz="2400">
              <a:solidFill>
                <a:srgbClr val="40404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5762395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43030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4924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129868" y="5984140"/>
            <a:ext cx="1607625" cy="40344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46613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366941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3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677168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4" y="2084173"/>
            <a:ext cx="9860672" cy="1793104"/>
          </a:xfrm>
        </p:spPr>
        <p:txBody>
          <a:bodyPr/>
          <a:lstStyle>
            <a:lvl1pPr>
              <a:defRPr sz="4705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357817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6916805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00"/>
              </a:spcAft>
              <a:buNone/>
              <a:defRPr lang="en-US" sz="352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669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2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69242" y="291070"/>
            <a:ext cx="11653522" cy="896552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0855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39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6178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504822"/>
          </a:xfrm>
        </p:spPr>
        <p:txBody>
          <a:bodyPr>
            <a:spAutoFit/>
          </a:bodyPr>
          <a:lstStyle>
            <a:lvl1pPr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691" indent="-236546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184" indent="-336145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1"/>
            </a:lvl4pPr>
            <a:lvl5pPr>
              <a:defRPr sz="1961"/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9070317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041517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910861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095548" y="2425049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2549734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5" y="3085694"/>
            <a:ext cx="3227129" cy="68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262390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69239" y="2262478"/>
            <a:ext cx="1532465" cy="316989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51737" y="2256322"/>
            <a:ext cx="3169353" cy="31822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095785" y="2257102"/>
            <a:ext cx="3826977" cy="318064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076404" y="2256137"/>
            <a:ext cx="2300636" cy="318257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20368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786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702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E43C2CD-916E-4E61-8E92-0D1F209EB455}" type="datetimeFigureOut">
              <a:rPr lang="en-US" smtClean="0">
                <a:solidFill>
                  <a:srgbClr val="404040"/>
                </a:solidFill>
              </a:rPr>
              <a:pPr/>
              <a:t>12/2/2018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2136CA9-023A-4D49-821B-11EF8521ACEE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22403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1">
    <p:bg>
      <p:bgPr>
        <a:solidFill>
          <a:srgbClr val="2428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571732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89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720114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4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6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6" y="259969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6" y="337802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2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38" tIns="143391" rIns="179238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4244524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4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8" y="259969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8" y="3378027"/>
            <a:ext cx="5661415" cy="1022998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38" tIns="143391" rIns="179238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764801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528482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2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471080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0159805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9870134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0" b="0">
                <a:latin typeface="+mn-lt"/>
              </a:defRPr>
            </a:lvl1pPr>
            <a:lvl2pPr marL="250478" indent="0">
              <a:buFont typeface="Wingdings" panose="05000000000000000000" pitchFamily="2" charset="2"/>
              <a:buNone/>
              <a:defRPr sz="2352" b="0"/>
            </a:lvl2pPr>
            <a:lvl3pPr marL="441835" indent="0">
              <a:buFont typeface="Wingdings" panose="05000000000000000000" pitchFamily="2" charset="2"/>
              <a:buNone/>
              <a:tabLst/>
              <a:defRPr sz="2156" b="0"/>
            </a:lvl3pPr>
            <a:lvl4pPr marL="639416" indent="0">
              <a:buFont typeface="Wingdings" panose="05000000000000000000" pitchFamily="2" charset="2"/>
              <a:buNone/>
              <a:defRPr sz="2156" b="0"/>
            </a:lvl4pPr>
            <a:lvl5pPr marL="836999" indent="0">
              <a:buFont typeface="Wingdings" panose="05000000000000000000" pitchFamily="2" charset="2"/>
              <a:buNone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78" indent="0">
              <a:buFont typeface="Arial" panose="020B0604020202020204" pitchFamily="34" charset="0"/>
              <a:buNone/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35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16" indent="0">
              <a:buFont typeface="Arial" panose="020B0604020202020204" pitchFamily="34" charset="0"/>
              <a:buNone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999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66" marR="0" lvl="0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66" marR="0" lvl="1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66" marR="0" lvl="2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66" marR="0" lvl="3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66" marR="0" lvl="4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3119740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141" indent="-227141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0" b="0">
                <a:latin typeface="+mn-lt"/>
              </a:defRPr>
            </a:lvl1pPr>
            <a:lvl2pPr marL="418499" indent="-168022">
              <a:buFont typeface="Wingdings" panose="05000000000000000000" pitchFamily="2" charset="2"/>
              <a:buChar char=""/>
              <a:defRPr sz="2352" b="0"/>
            </a:lvl2pPr>
            <a:lvl3pPr marL="626972" indent="-185135">
              <a:buFont typeface="Wingdings" panose="05000000000000000000" pitchFamily="2" charset="2"/>
              <a:buChar char=""/>
              <a:tabLst/>
              <a:defRPr sz="2156" b="0"/>
            </a:lvl3pPr>
            <a:lvl4pPr marL="812106" indent="-172690">
              <a:buFont typeface="Wingdings" panose="05000000000000000000" pitchFamily="2" charset="2"/>
              <a:buChar char=""/>
              <a:defRPr sz="2156" b="0"/>
            </a:lvl4pPr>
            <a:lvl5pPr marL="1003465" indent="-166467">
              <a:buFont typeface="Wingdings" panose="05000000000000000000" pitchFamily="2" charset="2"/>
              <a:buChar char=""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22" indent="-336044"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880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460" indent="-336044"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043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41" marR="0" lvl="0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41" marR="0" lvl="1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41" marR="0" lvl="2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41" marR="0" lvl="3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41" marR="0" lvl="4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8905309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7573049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93079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7412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76145827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31686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0222918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5817003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2" y="6566900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41382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0" tIns="45710" rIns="4571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spcBef>
                <a:spcPct val="0"/>
              </a:spcBef>
              <a:spcAft>
                <a:spcPct val="0"/>
              </a:spcAft>
            </a:pPr>
            <a:endParaRPr lang="en-US" sz="176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2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2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1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7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98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25255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79238" rIns="179238" bIns="179238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389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3" y="2746096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6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63857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cap="none" spc="-98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69303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>
            <a:extLst>
              <a:ext uri="{FF2B5EF4-FFF2-40B4-BE49-F238E27FC236}">
                <a16:creationId xmlns:a16="http://schemas.microsoft.com/office/drawing/2014/main" id="{4B2448B7-4736-40F6-B6E5-8B83FDA251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3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741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8" y="286381"/>
            <a:ext cx="11653523" cy="927940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3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2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59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213049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44" indent="0">
              <a:buNone/>
              <a:defRPr/>
            </a:lvl3pPr>
            <a:lvl4pPr marL="447887" indent="0">
              <a:buNone/>
              <a:defRPr/>
            </a:lvl4pPr>
            <a:lvl5pPr marL="67183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1198220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91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3A3051D2-DD0C-4419-9210-74A066BBE5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584201" y="2903438"/>
            <a:ext cx="4343400" cy="527960"/>
          </a:xfrm>
          <a:custGeom>
            <a:avLst/>
            <a:gdLst>
              <a:gd name="T0" fmla="*/ 763 w 809"/>
              <a:gd name="T1" fmla="*/ 64 h 96"/>
              <a:gd name="T2" fmla="*/ 795 w 809"/>
              <a:gd name="T3" fmla="*/ 58 h 96"/>
              <a:gd name="T4" fmla="*/ 795 w 809"/>
              <a:gd name="T5" fmla="*/ 84 h 96"/>
              <a:gd name="T6" fmla="*/ 777 w 809"/>
              <a:gd name="T7" fmla="*/ 30 h 96"/>
              <a:gd name="T8" fmla="*/ 723 w 809"/>
              <a:gd name="T9" fmla="*/ 95 h 96"/>
              <a:gd name="T10" fmla="*/ 701 w 809"/>
              <a:gd name="T11" fmla="*/ 3 h 96"/>
              <a:gd name="T12" fmla="*/ 707 w 809"/>
              <a:gd name="T13" fmla="*/ 16 h 96"/>
              <a:gd name="T14" fmla="*/ 708 w 809"/>
              <a:gd name="T15" fmla="*/ 95 h 96"/>
              <a:gd name="T16" fmla="*/ 661 w 809"/>
              <a:gd name="T17" fmla="*/ 80 h 96"/>
              <a:gd name="T18" fmla="*/ 624 w 809"/>
              <a:gd name="T19" fmla="*/ 69 h 96"/>
              <a:gd name="T20" fmla="*/ 679 w 809"/>
              <a:gd name="T21" fmla="*/ 95 h 96"/>
              <a:gd name="T22" fmla="*/ 579 w 809"/>
              <a:gd name="T23" fmla="*/ 55 h 96"/>
              <a:gd name="T24" fmla="*/ 598 w 809"/>
              <a:gd name="T25" fmla="*/ 69 h 96"/>
              <a:gd name="T26" fmla="*/ 579 w 809"/>
              <a:gd name="T27" fmla="*/ 19 h 96"/>
              <a:gd name="T28" fmla="*/ 605 w 809"/>
              <a:gd name="T29" fmla="*/ 88 h 96"/>
              <a:gd name="T30" fmla="*/ 602 w 809"/>
              <a:gd name="T31" fmla="*/ 12 h 96"/>
              <a:gd name="T32" fmla="*/ 608 w 809"/>
              <a:gd name="T33" fmla="*/ 55 h 96"/>
              <a:gd name="T34" fmla="*/ 471 w 809"/>
              <a:gd name="T35" fmla="*/ 32 h 96"/>
              <a:gd name="T36" fmla="*/ 474 w 809"/>
              <a:gd name="T37" fmla="*/ 2 h 96"/>
              <a:gd name="T38" fmla="*/ 432 w 809"/>
              <a:gd name="T39" fmla="*/ 32 h 96"/>
              <a:gd name="T40" fmla="*/ 457 w 809"/>
              <a:gd name="T41" fmla="*/ 43 h 96"/>
              <a:gd name="T42" fmla="*/ 500 w 809"/>
              <a:gd name="T43" fmla="*/ 96 h 96"/>
              <a:gd name="T44" fmla="*/ 496 w 809"/>
              <a:gd name="T45" fmla="*/ 74 h 96"/>
              <a:gd name="T46" fmla="*/ 496 w 809"/>
              <a:gd name="T47" fmla="*/ 13 h 96"/>
              <a:gd name="T48" fmla="*/ 378 w 809"/>
              <a:gd name="T49" fmla="*/ 64 h 96"/>
              <a:gd name="T50" fmla="*/ 419 w 809"/>
              <a:gd name="T51" fmla="*/ 39 h 96"/>
              <a:gd name="T52" fmla="*/ 363 w 809"/>
              <a:gd name="T53" fmla="*/ 64 h 96"/>
              <a:gd name="T54" fmla="*/ 345 w 809"/>
              <a:gd name="T55" fmla="*/ 62 h 96"/>
              <a:gd name="T56" fmla="*/ 325 w 809"/>
              <a:gd name="T57" fmla="*/ 48 h 96"/>
              <a:gd name="T58" fmla="*/ 352 w 809"/>
              <a:gd name="T59" fmla="*/ 46 h 96"/>
              <a:gd name="T60" fmla="*/ 313 w 809"/>
              <a:gd name="T61" fmla="*/ 41 h 96"/>
              <a:gd name="T62" fmla="*/ 327 w 809"/>
              <a:gd name="T63" fmla="*/ 67 h 96"/>
              <a:gd name="T64" fmla="*/ 328 w 809"/>
              <a:gd name="T65" fmla="*/ 86 h 96"/>
              <a:gd name="T66" fmla="*/ 347 w 809"/>
              <a:gd name="T67" fmla="*/ 91 h 96"/>
              <a:gd name="T68" fmla="*/ 286 w 809"/>
              <a:gd name="T69" fmla="*/ 63 h 96"/>
              <a:gd name="T70" fmla="*/ 256 w 809"/>
              <a:gd name="T71" fmla="*/ 79 h 96"/>
              <a:gd name="T72" fmla="*/ 301 w 809"/>
              <a:gd name="T73" fmla="*/ 63 h 96"/>
              <a:gd name="T74" fmla="*/ 246 w 809"/>
              <a:gd name="T75" fmla="*/ 39 h 96"/>
              <a:gd name="T76" fmla="*/ 210 w 809"/>
              <a:gd name="T77" fmla="*/ 45 h 96"/>
              <a:gd name="T78" fmla="*/ 210 w 809"/>
              <a:gd name="T79" fmla="*/ 65 h 96"/>
              <a:gd name="T80" fmla="*/ 226 w 809"/>
              <a:gd name="T81" fmla="*/ 31 h 96"/>
              <a:gd name="T82" fmla="*/ 165 w 809"/>
              <a:gd name="T83" fmla="*/ 96 h 96"/>
              <a:gd name="T84" fmla="*/ 148 w 809"/>
              <a:gd name="T85" fmla="*/ 64 h 96"/>
              <a:gd name="T86" fmla="*/ 167 w 809"/>
              <a:gd name="T87" fmla="*/ 30 h 96"/>
              <a:gd name="T88" fmla="*/ 108 w 809"/>
              <a:gd name="T89" fmla="*/ 32 h 96"/>
              <a:gd name="T90" fmla="*/ 110 w 809"/>
              <a:gd name="T91" fmla="*/ 17 h 96"/>
              <a:gd name="T92" fmla="*/ 116 w 809"/>
              <a:gd name="T93" fmla="*/ 3 h 96"/>
              <a:gd name="T94" fmla="*/ 80 w 809"/>
              <a:gd name="T95" fmla="*/ 38 h 96"/>
              <a:gd name="T96" fmla="*/ 42 w 809"/>
              <a:gd name="T97" fmla="*/ 95 h 96"/>
              <a:gd name="T98" fmla="*/ 14 w 809"/>
              <a:gd name="T99" fmla="*/ 95 h 96"/>
              <a:gd name="T100" fmla="*/ 47 w 809"/>
              <a:gd name="T101" fmla="*/ 7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9" h="96">
                <a:moveTo>
                  <a:pt x="795" y="58"/>
                </a:moveTo>
                <a:cubicBezTo>
                  <a:pt x="795" y="53"/>
                  <a:pt x="794" y="50"/>
                  <a:pt x="791" y="46"/>
                </a:cubicBezTo>
                <a:cubicBezTo>
                  <a:pt x="788" y="43"/>
                  <a:pt x="784" y="42"/>
                  <a:pt x="780" y="42"/>
                </a:cubicBezTo>
                <a:cubicBezTo>
                  <a:pt x="775" y="42"/>
                  <a:pt x="770" y="44"/>
                  <a:pt x="767" y="48"/>
                </a:cubicBezTo>
                <a:cubicBezTo>
                  <a:pt x="764" y="52"/>
                  <a:pt x="763" y="57"/>
                  <a:pt x="763" y="64"/>
                </a:cubicBezTo>
                <a:cubicBezTo>
                  <a:pt x="763" y="71"/>
                  <a:pt x="764" y="76"/>
                  <a:pt x="767" y="79"/>
                </a:cubicBezTo>
                <a:cubicBezTo>
                  <a:pt x="770" y="83"/>
                  <a:pt x="774" y="85"/>
                  <a:pt x="779" y="85"/>
                </a:cubicBezTo>
                <a:cubicBezTo>
                  <a:pt x="784" y="85"/>
                  <a:pt x="788" y="83"/>
                  <a:pt x="791" y="79"/>
                </a:cubicBezTo>
                <a:cubicBezTo>
                  <a:pt x="794" y="76"/>
                  <a:pt x="795" y="71"/>
                  <a:pt x="795" y="66"/>
                </a:cubicBezTo>
                <a:lnTo>
                  <a:pt x="795" y="58"/>
                </a:lnTo>
                <a:close/>
                <a:moveTo>
                  <a:pt x="809" y="2"/>
                </a:moveTo>
                <a:cubicBezTo>
                  <a:pt x="809" y="95"/>
                  <a:pt x="809" y="95"/>
                  <a:pt x="809" y="95"/>
                </a:cubicBezTo>
                <a:cubicBezTo>
                  <a:pt x="795" y="95"/>
                  <a:pt x="795" y="95"/>
                  <a:pt x="795" y="95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5" y="84"/>
                  <a:pt x="795" y="84"/>
                  <a:pt x="795" y="84"/>
                </a:cubicBezTo>
                <a:cubicBezTo>
                  <a:pt x="790" y="92"/>
                  <a:pt x="783" y="96"/>
                  <a:pt x="774" y="96"/>
                </a:cubicBezTo>
                <a:cubicBezTo>
                  <a:pt x="766" y="96"/>
                  <a:pt x="760" y="93"/>
                  <a:pt x="755" y="88"/>
                </a:cubicBezTo>
                <a:cubicBezTo>
                  <a:pt x="751" y="82"/>
                  <a:pt x="748" y="74"/>
                  <a:pt x="748" y="65"/>
                </a:cubicBezTo>
                <a:cubicBezTo>
                  <a:pt x="748" y="54"/>
                  <a:pt x="751" y="46"/>
                  <a:pt x="756" y="40"/>
                </a:cubicBezTo>
                <a:cubicBezTo>
                  <a:pt x="761" y="34"/>
                  <a:pt x="768" y="30"/>
                  <a:pt x="777" y="30"/>
                </a:cubicBezTo>
                <a:cubicBezTo>
                  <a:pt x="785" y="30"/>
                  <a:pt x="791" y="34"/>
                  <a:pt x="795" y="41"/>
                </a:cubicBezTo>
                <a:cubicBezTo>
                  <a:pt x="795" y="41"/>
                  <a:pt x="795" y="41"/>
                  <a:pt x="795" y="41"/>
                </a:cubicBezTo>
                <a:cubicBezTo>
                  <a:pt x="795" y="2"/>
                  <a:pt x="795" y="2"/>
                  <a:pt x="795" y="2"/>
                </a:cubicBezTo>
                <a:lnTo>
                  <a:pt x="809" y="2"/>
                </a:lnTo>
                <a:close/>
                <a:moveTo>
                  <a:pt x="723" y="95"/>
                </a:moveTo>
                <a:cubicBezTo>
                  <a:pt x="738" y="95"/>
                  <a:pt x="738" y="95"/>
                  <a:pt x="738" y="95"/>
                </a:cubicBezTo>
                <a:cubicBezTo>
                  <a:pt x="738" y="2"/>
                  <a:pt x="738" y="2"/>
                  <a:pt x="738" y="2"/>
                </a:cubicBezTo>
                <a:cubicBezTo>
                  <a:pt x="723" y="2"/>
                  <a:pt x="723" y="2"/>
                  <a:pt x="723" y="2"/>
                </a:cubicBezTo>
                <a:lnTo>
                  <a:pt x="723" y="95"/>
                </a:lnTo>
                <a:close/>
                <a:moveTo>
                  <a:pt x="701" y="3"/>
                </a:moveTo>
                <a:cubicBezTo>
                  <a:pt x="699" y="3"/>
                  <a:pt x="697" y="3"/>
                  <a:pt x="695" y="5"/>
                </a:cubicBezTo>
                <a:cubicBezTo>
                  <a:pt x="694" y="7"/>
                  <a:pt x="693" y="8"/>
                  <a:pt x="693" y="11"/>
                </a:cubicBezTo>
                <a:cubicBezTo>
                  <a:pt x="693" y="13"/>
                  <a:pt x="694" y="15"/>
                  <a:pt x="695" y="17"/>
                </a:cubicBezTo>
                <a:cubicBezTo>
                  <a:pt x="697" y="18"/>
                  <a:pt x="699" y="19"/>
                  <a:pt x="701" y="19"/>
                </a:cubicBezTo>
                <a:cubicBezTo>
                  <a:pt x="704" y="19"/>
                  <a:pt x="706" y="18"/>
                  <a:pt x="707" y="16"/>
                </a:cubicBezTo>
                <a:cubicBezTo>
                  <a:pt x="709" y="15"/>
                  <a:pt x="710" y="13"/>
                  <a:pt x="710" y="11"/>
                </a:cubicBezTo>
                <a:cubicBezTo>
                  <a:pt x="710" y="8"/>
                  <a:pt x="709" y="7"/>
                  <a:pt x="707" y="5"/>
                </a:cubicBezTo>
                <a:cubicBezTo>
                  <a:pt x="706" y="3"/>
                  <a:pt x="704" y="3"/>
                  <a:pt x="701" y="3"/>
                </a:cubicBezTo>
                <a:moveTo>
                  <a:pt x="694" y="95"/>
                </a:moveTo>
                <a:cubicBezTo>
                  <a:pt x="708" y="95"/>
                  <a:pt x="708" y="95"/>
                  <a:pt x="708" y="95"/>
                </a:cubicBezTo>
                <a:cubicBezTo>
                  <a:pt x="708" y="32"/>
                  <a:pt x="708" y="32"/>
                  <a:pt x="708" y="32"/>
                </a:cubicBezTo>
                <a:cubicBezTo>
                  <a:pt x="694" y="32"/>
                  <a:pt x="694" y="32"/>
                  <a:pt x="694" y="32"/>
                </a:cubicBezTo>
                <a:lnTo>
                  <a:pt x="694" y="95"/>
                </a:lnTo>
                <a:close/>
                <a:moveTo>
                  <a:pt x="665" y="68"/>
                </a:moveTo>
                <a:cubicBezTo>
                  <a:pt x="665" y="73"/>
                  <a:pt x="664" y="77"/>
                  <a:pt x="661" y="80"/>
                </a:cubicBezTo>
                <a:cubicBezTo>
                  <a:pt x="658" y="83"/>
                  <a:pt x="655" y="85"/>
                  <a:pt x="651" y="85"/>
                </a:cubicBezTo>
                <a:cubicBezTo>
                  <a:pt x="642" y="85"/>
                  <a:pt x="638" y="79"/>
                  <a:pt x="638" y="68"/>
                </a:cubicBezTo>
                <a:cubicBezTo>
                  <a:pt x="638" y="32"/>
                  <a:pt x="638" y="32"/>
                  <a:pt x="638" y="32"/>
                </a:cubicBezTo>
                <a:cubicBezTo>
                  <a:pt x="624" y="32"/>
                  <a:pt x="624" y="32"/>
                  <a:pt x="624" y="32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4" y="87"/>
                  <a:pt x="631" y="96"/>
                  <a:pt x="646" y="96"/>
                </a:cubicBezTo>
                <a:cubicBezTo>
                  <a:pt x="654" y="96"/>
                  <a:pt x="661" y="92"/>
                  <a:pt x="665" y="85"/>
                </a:cubicBezTo>
                <a:cubicBezTo>
                  <a:pt x="665" y="85"/>
                  <a:pt x="665" y="85"/>
                  <a:pt x="665" y="85"/>
                </a:cubicBezTo>
                <a:cubicBezTo>
                  <a:pt x="665" y="95"/>
                  <a:pt x="665" y="95"/>
                  <a:pt x="665" y="95"/>
                </a:cubicBezTo>
                <a:cubicBezTo>
                  <a:pt x="679" y="95"/>
                  <a:pt x="679" y="95"/>
                  <a:pt x="679" y="95"/>
                </a:cubicBezTo>
                <a:cubicBezTo>
                  <a:pt x="679" y="32"/>
                  <a:pt x="679" y="32"/>
                  <a:pt x="679" y="32"/>
                </a:cubicBezTo>
                <a:cubicBezTo>
                  <a:pt x="665" y="32"/>
                  <a:pt x="665" y="32"/>
                  <a:pt x="665" y="32"/>
                </a:cubicBezTo>
                <a:lnTo>
                  <a:pt x="665" y="68"/>
                </a:lnTo>
                <a:close/>
                <a:moveTo>
                  <a:pt x="598" y="69"/>
                </a:moveTo>
                <a:cubicBezTo>
                  <a:pt x="598" y="60"/>
                  <a:pt x="592" y="55"/>
                  <a:pt x="579" y="55"/>
                </a:cubicBezTo>
                <a:cubicBezTo>
                  <a:pt x="569" y="55"/>
                  <a:pt x="569" y="55"/>
                  <a:pt x="569" y="55"/>
                </a:cubicBezTo>
                <a:cubicBezTo>
                  <a:pt x="569" y="83"/>
                  <a:pt x="569" y="83"/>
                  <a:pt x="569" y="83"/>
                </a:cubicBezTo>
                <a:cubicBezTo>
                  <a:pt x="581" y="83"/>
                  <a:pt x="581" y="83"/>
                  <a:pt x="581" y="83"/>
                </a:cubicBezTo>
                <a:cubicBezTo>
                  <a:pt x="587" y="83"/>
                  <a:pt x="591" y="82"/>
                  <a:pt x="594" y="79"/>
                </a:cubicBezTo>
                <a:cubicBezTo>
                  <a:pt x="597" y="77"/>
                  <a:pt x="598" y="73"/>
                  <a:pt x="598" y="69"/>
                </a:cubicBezTo>
                <a:moveTo>
                  <a:pt x="569" y="44"/>
                </a:moveTo>
                <a:cubicBezTo>
                  <a:pt x="578" y="44"/>
                  <a:pt x="578" y="44"/>
                  <a:pt x="578" y="44"/>
                </a:cubicBezTo>
                <a:cubicBezTo>
                  <a:pt x="583" y="44"/>
                  <a:pt x="587" y="42"/>
                  <a:pt x="590" y="40"/>
                </a:cubicBezTo>
                <a:cubicBezTo>
                  <a:pt x="593" y="38"/>
                  <a:pt x="594" y="34"/>
                  <a:pt x="594" y="30"/>
                </a:cubicBezTo>
                <a:cubicBezTo>
                  <a:pt x="594" y="22"/>
                  <a:pt x="589" y="19"/>
                  <a:pt x="579" y="19"/>
                </a:cubicBezTo>
                <a:cubicBezTo>
                  <a:pt x="569" y="19"/>
                  <a:pt x="569" y="19"/>
                  <a:pt x="569" y="19"/>
                </a:cubicBezTo>
                <a:lnTo>
                  <a:pt x="569" y="44"/>
                </a:lnTo>
                <a:close/>
                <a:moveTo>
                  <a:pt x="608" y="55"/>
                </a:moveTo>
                <a:cubicBezTo>
                  <a:pt x="612" y="58"/>
                  <a:pt x="614" y="63"/>
                  <a:pt x="614" y="69"/>
                </a:cubicBezTo>
                <a:cubicBezTo>
                  <a:pt x="614" y="77"/>
                  <a:pt x="611" y="83"/>
                  <a:pt x="605" y="88"/>
                </a:cubicBezTo>
                <a:cubicBezTo>
                  <a:pt x="599" y="92"/>
                  <a:pt x="591" y="95"/>
                  <a:pt x="582" y="95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7"/>
                  <a:pt x="554" y="7"/>
                  <a:pt x="554" y="7"/>
                </a:cubicBezTo>
                <a:cubicBezTo>
                  <a:pt x="582" y="7"/>
                  <a:pt x="582" y="7"/>
                  <a:pt x="582" y="7"/>
                </a:cubicBezTo>
                <a:cubicBezTo>
                  <a:pt x="591" y="7"/>
                  <a:pt x="597" y="9"/>
                  <a:pt x="602" y="12"/>
                </a:cubicBezTo>
                <a:cubicBezTo>
                  <a:pt x="607" y="16"/>
                  <a:pt x="610" y="21"/>
                  <a:pt x="610" y="27"/>
                </a:cubicBezTo>
                <a:cubicBezTo>
                  <a:pt x="610" y="32"/>
                  <a:pt x="608" y="36"/>
                  <a:pt x="605" y="40"/>
                </a:cubicBezTo>
                <a:cubicBezTo>
                  <a:pt x="603" y="44"/>
                  <a:pt x="599" y="46"/>
                  <a:pt x="594" y="48"/>
                </a:cubicBezTo>
                <a:cubicBezTo>
                  <a:pt x="594" y="48"/>
                  <a:pt x="594" y="48"/>
                  <a:pt x="594" y="48"/>
                </a:cubicBezTo>
                <a:cubicBezTo>
                  <a:pt x="600" y="49"/>
                  <a:pt x="605" y="51"/>
                  <a:pt x="608" y="55"/>
                </a:cubicBezTo>
                <a:moveTo>
                  <a:pt x="496" y="13"/>
                </a:moveTo>
                <a:cubicBezTo>
                  <a:pt x="482" y="17"/>
                  <a:pt x="482" y="17"/>
                  <a:pt x="482" y="17"/>
                </a:cubicBezTo>
                <a:cubicBezTo>
                  <a:pt x="482" y="32"/>
                  <a:pt x="482" y="32"/>
                  <a:pt x="482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57" y="32"/>
                  <a:pt x="457" y="32"/>
                  <a:pt x="457" y="32"/>
                </a:cubicBezTo>
                <a:cubicBezTo>
                  <a:pt x="457" y="23"/>
                  <a:pt x="457" y="23"/>
                  <a:pt x="457" y="23"/>
                </a:cubicBezTo>
                <a:cubicBezTo>
                  <a:pt x="457" y="16"/>
                  <a:pt x="460" y="12"/>
                  <a:pt x="467" y="12"/>
                </a:cubicBezTo>
                <a:cubicBezTo>
                  <a:pt x="470" y="12"/>
                  <a:pt x="472" y="12"/>
                  <a:pt x="474" y="13"/>
                </a:cubicBezTo>
                <a:cubicBezTo>
                  <a:pt x="474" y="2"/>
                  <a:pt x="474" y="2"/>
                  <a:pt x="474" y="2"/>
                </a:cubicBezTo>
                <a:cubicBezTo>
                  <a:pt x="472" y="1"/>
                  <a:pt x="469" y="0"/>
                  <a:pt x="465" y="0"/>
                </a:cubicBezTo>
                <a:cubicBezTo>
                  <a:pt x="459" y="0"/>
                  <a:pt x="454" y="2"/>
                  <a:pt x="449" y="6"/>
                </a:cubicBezTo>
                <a:cubicBezTo>
                  <a:pt x="445" y="10"/>
                  <a:pt x="443" y="15"/>
                  <a:pt x="443" y="22"/>
                </a:cubicBezTo>
                <a:cubicBezTo>
                  <a:pt x="443" y="32"/>
                  <a:pt x="443" y="32"/>
                  <a:pt x="443" y="32"/>
                </a:cubicBezTo>
                <a:cubicBezTo>
                  <a:pt x="432" y="32"/>
                  <a:pt x="432" y="32"/>
                  <a:pt x="432" y="32"/>
                </a:cubicBezTo>
                <a:cubicBezTo>
                  <a:pt x="432" y="43"/>
                  <a:pt x="432" y="43"/>
                  <a:pt x="432" y="43"/>
                </a:cubicBezTo>
                <a:cubicBezTo>
                  <a:pt x="443" y="43"/>
                  <a:pt x="443" y="43"/>
                  <a:pt x="443" y="43"/>
                </a:cubicBezTo>
                <a:cubicBezTo>
                  <a:pt x="443" y="95"/>
                  <a:pt x="443" y="95"/>
                  <a:pt x="443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7" y="43"/>
                  <a:pt x="457" y="43"/>
                  <a:pt x="457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71" y="43"/>
                  <a:pt x="471" y="43"/>
                  <a:pt x="471" y="43"/>
                </a:cubicBezTo>
                <a:cubicBezTo>
                  <a:pt x="482" y="43"/>
                  <a:pt x="482" y="43"/>
                  <a:pt x="482" y="43"/>
                </a:cubicBezTo>
                <a:cubicBezTo>
                  <a:pt x="482" y="79"/>
                  <a:pt x="482" y="79"/>
                  <a:pt x="482" y="79"/>
                </a:cubicBezTo>
                <a:cubicBezTo>
                  <a:pt x="482" y="90"/>
                  <a:pt x="488" y="96"/>
                  <a:pt x="500" y="96"/>
                </a:cubicBezTo>
                <a:cubicBezTo>
                  <a:pt x="504" y="96"/>
                  <a:pt x="508" y="95"/>
                  <a:pt x="511" y="94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7" y="85"/>
                  <a:pt x="505" y="85"/>
                </a:cubicBezTo>
                <a:cubicBezTo>
                  <a:pt x="501" y="85"/>
                  <a:pt x="499" y="84"/>
                  <a:pt x="498" y="82"/>
                </a:cubicBezTo>
                <a:cubicBezTo>
                  <a:pt x="496" y="81"/>
                  <a:pt x="496" y="78"/>
                  <a:pt x="496" y="74"/>
                </a:cubicBezTo>
                <a:cubicBezTo>
                  <a:pt x="496" y="43"/>
                  <a:pt x="496" y="43"/>
                  <a:pt x="496" y="43"/>
                </a:cubicBezTo>
                <a:cubicBezTo>
                  <a:pt x="511" y="43"/>
                  <a:pt x="511" y="43"/>
                  <a:pt x="511" y="43"/>
                </a:cubicBezTo>
                <a:cubicBezTo>
                  <a:pt x="511" y="32"/>
                  <a:pt x="511" y="32"/>
                  <a:pt x="511" y="32"/>
                </a:cubicBezTo>
                <a:cubicBezTo>
                  <a:pt x="496" y="32"/>
                  <a:pt x="496" y="32"/>
                  <a:pt x="496" y="32"/>
                </a:cubicBezTo>
                <a:lnTo>
                  <a:pt x="496" y="13"/>
                </a:lnTo>
                <a:close/>
                <a:moveTo>
                  <a:pt x="413" y="63"/>
                </a:moveTo>
                <a:cubicBezTo>
                  <a:pt x="413" y="56"/>
                  <a:pt x="412" y="51"/>
                  <a:pt x="409" y="47"/>
                </a:cubicBezTo>
                <a:cubicBezTo>
                  <a:pt x="406" y="44"/>
                  <a:pt x="401" y="42"/>
                  <a:pt x="396" y="42"/>
                </a:cubicBezTo>
                <a:cubicBezTo>
                  <a:pt x="390" y="42"/>
                  <a:pt x="386" y="44"/>
                  <a:pt x="382" y="48"/>
                </a:cubicBezTo>
                <a:cubicBezTo>
                  <a:pt x="379" y="51"/>
                  <a:pt x="378" y="57"/>
                  <a:pt x="378" y="64"/>
                </a:cubicBezTo>
                <a:cubicBezTo>
                  <a:pt x="378" y="70"/>
                  <a:pt x="379" y="75"/>
                  <a:pt x="383" y="79"/>
                </a:cubicBezTo>
                <a:cubicBezTo>
                  <a:pt x="386" y="83"/>
                  <a:pt x="390" y="85"/>
                  <a:pt x="396" y="85"/>
                </a:cubicBezTo>
                <a:cubicBezTo>
                  <a:pt x="401" y="85"/>
                  <a:pt x="406" y="83"/>
                  <a:pt x="409" y="79"/>
                </a:cubicBezTo>
                <a:cubicBezTo>
                  <a:pt x="412" y="76"/>
                  <a:pt x="413" y="70"/>
                  <a:pt x="413" y="63"/>
                </a:cubicBezTo>
                <a:moveTo>
                  <a:pt x="419" y="39"/>
                </a:moveTo>
                <a:cubicBezTo>
                  <a:pt x="425" y="45"/>
                  <a:pt x="428" y="53"/>
                  <a:pt x="428" y="63"/>
                </a:cubicBezTo>
                <a:cubicBezTo>
                  <a:pt x="428" y="73"/>
                  <a:pt x="425" y="81"/>
                  <a:pt x="419" y="87"/>
                </a:cubicBezTo>
                <a:cubicBezTo>
                  <a:pt x="413" y="93"/>
                  <a:pt x="405" y="96"/>
                  <a:pt x="395" y="96"/>
                </a:cubicBezTo>
                <a:cubicBezTo>
                  <a:pt x="385" y="96"/>
                  <a:pt x="378" y="93"/>
                  <a:pt x="372" y="87"/>
                </a:cubicBezTo>
                <a:cubicBezTo>
                  <a:pt x="366" y="81"/>
                  <a:pt x="363" y="74"/>
                  <a:pt x="363" y="64"/>
                </a:cubicBezTo>
                <a:cubicBezTo>
                  <a:pt x="363" y="53"/>
                  <a:pt x="366" y="45"/>
                  <a:pt x="372" y="39"/>
                </a:cubicBezTo>
                <a:cubicBezTo>
                  <a:pt x="378" y="33"/>
                  <a:pt x="386" y="30"/>
                  <a:pt x="396" y="30"/>
                </a:cubicBezTo>
                <a:cubicBezTo>
                  <a:pt x="406" y="30"/>
                  <a:pt x="414" y="33"/>
                  <a:pt x="419" y="39"/>
                </a:cubicBezTo>
                <a:moveTo>
                  <a:pt x="350" y="66"/>
                </a:moveTo>
                <a:cubicBezTo>
                  <a:pt x="349" y="64"/>
                  <a:pt x="347" y="63"/>
                  <a:pt x="345" y="62"/>
                </a:cubicBezTo>
                <a:cubicBezTo>
                  <a:pt x="343" y="60"/>
                  <a:pt x="340" y="59"/>
                  <a:pt x="337" y="58"/>
                </a:cubicBezTo>
                <a:cubicBezTo>
                  <a:pt x="335" y="58"/>
                  <a:pt x="334" y="57"/>
                  <a:pt x="332" y="56"/>
                </a:cubicBezTo>
                <a:cubicBezTo>
                  <a:pt x="330" y="56"/>
                  <a:pt x="329" y="55"/>
                  <a:pt x="328" y="54"/>
                </a:cubicBezTo>
                <a:cubicBezTo>
                  <a:pt x="327" y="54"/>
                  <a:pt x="326" y="53"/>
                  <a:pt x="325" y="52"/>
                </a:cubicBezTo>
                <a:cubicBezTo>
                  <a:pt x="325" y="51"/>
                  <a:pt x="325" y="50"/>
                  <a:pt x="325" y="48"/>
                </a:cubicBezTo>
                <a:cubicBezTo>
                  <a:pt x="325" y="47"/>
                  <a:pt x="325" y="46"/>
                  <a:pt x="325" y="45"/>
                </a:cubicBezTo>
                <a:cubicBezTo>
                  <a:pt x="326" y="45"/>
                  <a:pt x="327" y="44"/>
                  <a:pt x="328" y="43"/>
                </a:cubicBezTo>
                <a:cubicBezTo>
                  <a:pt x="329" y="42"/>
                  <a:pt x="330" y="42"/>
                  <a:pt x="332" y="42"/>
                </a:cubicBezTo>
                <a:cubicBezTo>
                  <a:pt x="333" y="41"/>
                  <a:pt x="335" y="41"/>
                  <a:pt x="336" y="41"/>
                </a:cubicBezTo>
                <a:cubicBezTo>
                  <a:pt x="342" y="41"/>
                  <a:pt x="347" y="43"/>
                  <a:pt x="352" y="46"/>
                </a:cubicBezTo>
                <a:cubicBezTo>
                  <a:pt x="352" y="33"/>
                  <a:pt x="352" y="33"/>
                  <a:pt x="352" y="33"/>
                </a:cubicBezTo>
                <a:cubicBezTo>
                  <a:pt x="347" y="31"/>
                  <a:pt x="342" y="30"/>
                  <a:pt x="336" y="30"/>
                </a:cubicBezTo>
                <a:cubicBezTo>
                  <a:pt x="333" y="30"/>
                  <a:pt x="330" y="31"/>
                  <a:pt x="327" y="32"/>
                </a:cubicBezTo>
                <a:cubicBezTo>
                  <a:pt x="323" y="32"/>
                  <a:pt x="321" y="34"/>
                  <a:pt x="318" y="35"/>
                </a:cubicBezTo>
                <a:cubicBezTo>
                  <a:pt x="316" y="37"/>
                  <a:pt x="314" y="39"/>
                  <a:pt x="313" y="41"/>
                </a:cubicBezTo>
                <a:cubicBezTo>
                  <a:pt x="311" y="43"/>
                  <a:pt x="310" y="46"/>
                  <a:pt x="310" y="49"/>
                </a:cubicBezTo>
                <a:cubicBezTo>
                  <a:pt x="310" y="51"/>
                  <a:pt x="311" y="54"/>
                  <a:pt x="311" y="55"/>
                </a:cubicBezTo>
                <a:cubicBezTo>
                  <a:pt x="312" y="57"/>
                  <a:pt x="313" y="59"/>
                  <a:pt x="315" y="60"/>
                </a:cubicBezTo>
                <a:cubicBezTo>
                  <a:pt x="316" y="62"/>
                  <a:pt x="318" y="63"/>
                  <a:pt x="320" y="64"/>
                </a:cubicBezTo>
                <a:cubicBezTo>
                  <a:pt x="322" y="65"/>
                  <a:pt x="324" y="66"/>
                  <a:pt x="327" y="67"/>
                </a:cubicBezTo>
                <a:cubicBezTo>
                  <a:pt x="329" y="68"/>
                  <a:pt x="331" y="69"/>
                  <a:pt x="332" y="70"/>
                </a:cubicBezTo>
                <a:cubicBezTo>
                  <a:pt x="334" y="70"/>
                  <a:pt x="335" y="71"/>
                  <a:pt x="337" y="72"/>
                </a:cubicBezTo>
                <a:cubicBezTo>
                  <a:pt x="338" y="72"/>
                  <a:pt x="339" y="73"/>
                  <a:pt x="340" y="74"/>
                </a:cubicBezTo>
                <a:cubicBezTo>
                  <a:pt x="340" y="75"/>
                  <a:pt x="341" y="77"/>
                  <a:pt x="341" y="78"/>
                </a:cubicBezTo>
                <a:cubicBezTo>
                  <a:pt x="341" y="83"/>
                  <a:pt x="336" y="86"/>
                  <a:pt x="328" y="86"/>
                </a:cubicBezTo>
                <a:cubicBezTo>
                  <a:pt x="322" y="86"/>
                  <a:pt x="316" y="84"/>
                  <a:pt x="310" y="79"/>
                </a:cubicBezTo>
                <a:cubicBezTo>
                  <a:pt x="310" y="93"/>
                  <a:pt x="310" y="93"/>
                  <a:pt x="310" y="93"/>
                </a:cubicBezTo>
                <a:cubicBezTo>
                  <a:pt x="315" y="95"/>
                  <a:pt x="321" y="96"/>
                  <a:pt x="328" y="96"/>
                </a:cubicBezTo>
                <a:cubicBezTo>
                  <a:pt x="332" y="96"/>
                  <a:pt x="335" y="96"/>
                  <a:pt x="338" y="95"/>
                </a:cubicBezTo>
                <a:cubicBezTo>
                  <a:pt x="342" y="94"/>
                  <a:pt x="344" y="93"/>
                  <a:pt x="347" y="91"/>
                </a:cubicBezTo>
                <a:cubicBezTo>
                  <a:pt x="349" y="90"/>
                  <a:pt x="351" y="88"/>
                  <a:pt x="353" y="86"/>
                </a:cubicBezTo>
                <a:cubicBezTo>
                  <a:pt x="354" y="83"/>
                  <a:pt x="355" y="80"/>
                  <a:pt x="355" y="77"/>
                </a:cubicBezTo>
                <a:cubicBezTo>
                  <a:pt x="355" y="75"/>
                  <a:pt x="354" y="72"/>
                  <a:pt x="354" y="71"/>
                </a:cubicBezTo>
                <a:cubicBezTo>
                  <a:pt x="353" y="69"/>
                  <a:pt x="352" y="67"/>
                  <a:pt x="350" y="66"/>
                </a:cubicBezTo>
                <a:moveTo>
                  <a:pt x="286" y="63"/>
                </a:moveTo>
                <a:cubicBezTo>
                  <a:pt x="286" y="56"/>
                  <a:pt x="285" y="51"/>
                  <a:pt x="282" y="47"/>
                </a:cubicBezTo>
                <a:cubicBezTo>
                  <a:pt x="279" y="44"/>
                  <a:pt x="275" y="42"/>
                  <a:pt x="269" y="42"/>
                </a:cubicBezTo>
                <a:cubicBezTo>
                  <a:pt x="263" y="42"/>
                  <a:pt x="259" y="44"/>
                  <a:pt x="256" y="48"/>
                </a:cubicBezTo>
                <a:cubicBezTo>
                  <a:pt x="253" y="51"/>
                  <a:pt x="251" y="57"/>
                  <a:pt x="251" y="64"/>
                </a:cubicBezTo>
                <a:cubicBezTo>
                  <a:pt x="251" y="70"/>
                  <a:pt x="253" y="75"/>
                  <a:pt x="256" y="79"/>
                </a:cubicBezTo>
                <a:cubicBezTo>
                  <a:pt x="259" y="83"/>
                  <a:pt x="264" y="85"/>
                  <a:pt x="269" y="85"/>
                </a:cubicBezTo>
                <a:cubicBezTo>
                  <a:pt x="275" y="85"/>
                  <a:pt x="279" y="83"/>
                  <a:pt x="282" y="79"/>
                </a:cubicBezTo>
                <a:cubicBezTo>
                  <a:pt x="285" y="76"/>
                  <a:pt x="286" y="70"/>
                  <a:pt x="286" y="63"/>
                </a:cubicBezTo>
                <a:moveTo>
                  <a:pt x="293" y="39"/>
                </a:moveTo>
                <a:cubicBezTo>
                  <a:pt x="298" y="45"/>
                  <a:pt x="301" y="53"/>
                  <a:pt x="301" y="63"/>
                </a:cubicBezTo>
                <a:cubicBezTo>
                  <a:pt x="301" y="73"/>
                  <a:pt x="298" y="81"/>
                  <a:pt x="292" y="87"/>
                </a:cubicBezTo>
                <a:cubicBezTo>
                  <a:pt x="286" y="93"/>
                  <a:pt x="278" y="96"/>
                  <a:pt x="268" y="96"/>
                </a:cubicBezTo>
                <a:cubicBezTo>
                  <a:pt x="259" y="96"/>
                  <a:pt x="251" y="93"/>
                  <a:pt x="245" y="87"/>
                </a:cubicBezTo>
                <a:cubicBezTo>
                  <a:pt x="239" y="81"/>
                  <a:pt x="237" y="74"/>
                  <a:pt x="237" y="64"/>
                </a:cubicBezTo>
                <a:cubicBezTo>
                  <a:pt x="237" y="53"/>
                  <a:pt x="240" y="45"/>
                  <a:pt x="246" y="39"/>
                </a:cubicBezTo>
                <a:cubicBezTo>
                  <a:pt x="252" y="33"/>
                  <a:pt x="260" y="30"/>
                  <a:pt x="270" y="30"/>
                </a:cubicBezTo>
                <a:cubicBezTo>
                  <a:pt x="280" y="30"/>
                  <a:pt x="287" y="33"/>
                  <a:pt x="293" y="39"/>
                </a:cubicBezTo>
                <a:moveTo>
                  <a:pt x="216" y="35"/>
                </a:moveTo>
                <a:cubicBezTo>
                  <a:pt x="213" y="37"/>
                  <a:pt x="211" y="40"/>
                  <a:pt x="210" y="45"/>
                </a:cubicBezTo>
                <a:cubicBezTo>
                  <a:pt x="210" y="45"/>
                  <a:pt x="210" y="45"/>
                  <a:pt x="210" y="45"/>
                </a:cubicBezTo>
                <a:cubicBezTo>
                  <a:pt x="210" y="32"/>
                  <a:pt x="210" y="32"/>
                  <a:pt x="210" y="3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95"/>
                  <a:pt x="195" y="95"/>
                  <a:pt x="195" y="95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0" y="58"/>
                  <a:pt x="211" y="53"/>
                  <a:pt x="214" y="49"/>
                </a:cubicBezTo>
                <a:cubicBezTo>
                  <a:pt x="217" y="45"/>
                  <a:pt x="220" y="43"/>
                  <a:pt x="224" y="43"/>
                </a:cubicBezTo>
                <a:cubicBezTo>
                  <a:pt x="227" y="43"/>
                  <a:pt x="230" y="44"/>
                  <a:pt x="232" y="45"/>
                </a:cubicBezTo>
                <a:cubicBezTo>
                  <a:pt x="232" y="32"/>
                  <a:pt x="232" y="32"/>
                  <a:pt x="232" y="32"/>
                </a:cubicBezTo>
                <a:cubicBezTo>
                  <a:pt x="230" y="31"/>
                  <a:pt x="228" y="31"/>
                  <a:pt x="226" y="31"/>
                </a:cubicBezTo>
                <a:cubicBezTo>
                  <a:pt x="222" y="31"/>
                  <a:pt x="219" y="32"/>
                  <a:pt x="216" y="35"/>
                </a:cubicBezTo>
                <a:moveTo>
                  <a:pt x="143" y="40"/>
                </a:moveTo>
                <a:cubicBezTo>
                  <a:pt x="137" y="46"/>
                  <a:pt x="133" y="54"/>
                  <a:pt x="133" y="65"/>
                </a:cubicBezTo>
                <a:cubicBezTo>
                  <a:pt x="133" y="74"/>
                  <a:pt x="136" y="82"/>
                  <a:pt x="142" y="87"/>
                </a:cubicBezTo>
                <a:cubicBezTo>
                  <a:pt x="148" y="93"/>
                  <a:pt x="155" y="96"/>
                  <a:pt x="165" y="96"/>
                </a:cubicBezTo>
                <a:cubicBezTo>
                  <a:pt x="171" y="96"/>
                  <a:pt x="177" y="95"/>
                  <a:pt x="182" y="92"/>
                </a:cubicBezTo>
                <a:cubicBezTo>
                  <a:pt x="182" y="79"/>
                  <a:pt x="182" y="79"/>
                  <a:pt x="182" y="79"/>
                </a:cubicBezTo>
                <a:cubicBezTo>
                  <a:pt x="178" y="83"/>
                  <a:pt x="173" y="85"/>
                  <a:pt x="168" y="85"/>
                </a:cubicBezTo>
                <a:cubicBezTo>
                  <a:pt x="162" y="85"/>
                  <a:pt x="157" y="83"/>
                  <a:pt x="153" y="79"/>
                </a:cubicBezTo>
                <a:cubicBezTo>
                  <a:pt x="150" y="75"/>
                  <a:pt x="148" y="70"/>
                  <a:pt x="148" y="64"/>
                </a:cubicBezTo>
                <a:cubicBezTo>
                  <a:pt x="148" y="57"/>
                  <a:pt x="150" y="52"/>
                  <a:pt x="154" y="48"/>
                </a:cubicBezTo>
                <a:cubicBezTo>
                  <a:pt x="158" y="44"/>
                  <a:pt x="162" y="42"/>
                  <a:pt x="168" y="42"/>
                </a:cubicBezTo>
                <a:cubicBezTo>
                  <a:pt x="173" y="42"/>
                  <a:pt x="178" y="43"/>
                  <a:pt x="182" y="47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78" y="31"/>
                  <a:pt x="173" y="30"/>
                  <a:pt x="167" y="30"/>
                </a:cubicBezTo>
                <a:cubicBezTo>
                  <a:pt x="157" y="30"/>
                  <a:pt x="149" y="34"/>
                  <a:pt x="143" y="40"/>
                </a:cubicBezTo>
                <a:moveTo>
                  <a:pt x="108" y="95"/>
                </a:moveTo>
                <a:cubicBezTo>
                  <a:pt x="123" y="95"/>
                  <a:pt x="123" y="95"/>
                  <a:pt x="123" y="95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08" y="32"/>
                  <a:pt x="108" y="32"/>
                  <a:pt x="108" y="32"/>
                </a:cubicBezTo>
                <a:lnTo>
                  <a:pt x="108" y="95"/>
                </a:lnTo>
                <a:close/>
                <a:moveTo>
                  <a:pt x="116" y="3"/>
                </a:moveTo>
                <a:cubicBezTo>
                  <a:pt x="113" y="3"/>
                  <a:pt x="111" y="3"/>
                  <a:pt x="110" y="5"/>
                </a:cubicBezTo>
                <a:cubicBezTo>
                  <a:pt x="108" y="7"/>
                  <a:pt x="107" y="8"/>
                  <a:pt x="107" y="11"/>
                </a:cubicBezTo>
                <a:cubicBezTo>
                  <a:pt x="107" y="13"/>
                  <a:pt x="108" y="15"/>
                  <a:pt x="110" y="17"/>
                </a:cubicBezTo>
                <a:cubicBezTo>
                  <a:pt x="111" y="18"/>
                  <a:pt x="113" y="19"/>
                  <a:pt x="116" y="19"/>
                </a:cubicBezTo>
                <a:cubicBezTo>
                  <a:pt x="118" y="19"/>
                  <a:pt x="120" y="18"/>
                  <a:pt x="122" y="16"/>
                </a:cubicBezTo>
                <a:cubicBezTo>
                  <a:pt x="123" y="15"/>
                  <a:pt x="124" y="13"/>
                  <a:pt x="124" y="11"/>
                </a:cubicBezTo>
                <a:cubicBezTo>
                  <a:pt x="124" y="8"/>
                  <a:pt x="123" y="7"/>
                  <a:pt x="122" y="5"/>
                </a:cubicBezTo>
                <a:cubicBezTo>
                  <a:pt x="120" y="3"/>
                  <a:pt x="118" y="3"/>
                  <a:pt x="116" y="3"/>
                </a:cubicBezTo>
                <a:moveTo>
                  <a:pt x="75" y="7"/>
                </a:moveTo>
                <a:cubicBezTo>
                  <a:pt x="95" y="7"/>
                  <a:pt x="95" y="7"/>
                  <a:pt x="95" y="7"/>
                </a:cubicBezTo>
                <a:cubicBezTo>
                  <a:pt x="95" y="95"/>
                  <a:pt x="95" y="95"/>
                  <a:pt x="95" y="95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3"/>
                  <a:pt x="80" y="27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0" y="25"/>
                  <a:pt x="79" y="27"/>
                  <a:pt x="78" y="29"/>
                </a:cubicBezTo>
                <a:cubicBezTo>
                  <a:pt x="52" y="95"/>
                  <a:pt x="52" y="95"/>
                  <a:pt x="52" y="95"/>
                </a:cubicBezTo>
                <a:cubicBezTo>
                  <a:pt x="42" y="95"/>
                  <a:pt x="42" y="95"/>
                  <a:pt x="42" y="95"/>
                </a:cubicBezTo>
                <a:cubicBezTo>
                  <a:pt x="16" y="29"/>
                  <a:pt x="16" y="29"/>
                  <a:pt x="16" y="29"/>
                </a:cubicBezTo>
                <a:cubicBezTo>
                  <a:pt x="15" y="28"/>
                  <a:pt x="14" y="25"/>
                  <a:pt x="14" y="21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4"/>
                  <a:pt x="14" y="30"/>
                  <a:pt x="14" y="38"/>
                </a:cubicBezTo>
                <a:cubicBezTo>
                  <a:pt x="14" y="95"/>
                  <a:pt x="14" y="95"/>
                  <a:pt x="14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7"/>
                  <a:pt x="0" y="7"/>
                  <a:pt x="0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44" y="65"/>
                  <a:pt x="44" y="65"/>
                  <a:pt x="44" y="65"/>
                </a:cubicBezTo>
                <a:cubicBezTo>
                  <a:pt x="46" y="70"/>
                  <a:pt x="47" y="73"/>
                  <a:pt x="47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49" y="71"/>
                  <a:pt x="50" y="67"/>
                  <a:pt x="51" y="65"/>
                </a:cubicBezTo>
                <a:lnTo>
                  <a:pt x="75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C73F7E-519C-4D23-B871-7FD985D67D4D}"/>
              </a:ext>
            </a:extLst>
          </p:cNvPr>
          <p:cNvSpPr/>
          <p:nvPr userDrawn="1"/>
        </p:nvSpPr>
        <p:spPr>
          <a:xfrm>
            <a:off x="584201" y="3977148"/>
            <a:ext cx="355097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324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n-ea"/>
                <a:cs typeface="Segoe UI Semilight" panose="020B0402040204020203" pitchFamily="34" charset="0"/>
              </a:rPr>
              <a:t>May 7–9, 2018   //   Seattle, W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00149D-DBA5-49F4-9EA0-6801AFB758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1" r="20173" b="58603"/>
          <a:stretch/>
        </p:blipFill>
        <p:spPr>
          <a:xfrm>
            <a:off x="2255246" y="0"/>
            <a:ext cx="99367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587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843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667512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599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2"/>
            <a:ext cx="667512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9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020681-E031-438A-87F4-3EF4E311C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5DB46-DA06-45E4-B8E6-78FFA7D83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1723" y="5961263"/>
            <a:ext cx="3017520" cy="307777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1999">
                <a:latin typeface="+mn-lt"/>
              </a:defRPr>
            </a:lvl1pPr>
            <a:lvl2pPr marL="228531" indent="0">
              <a:buNone/>
              <a:defRPr/>
            </a:lvl2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888695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1"/>
            <a:ext cx="11018520" cy="1612493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531" indent="0">
              <a:buNone/>
              <a:defRPr/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38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1" y="1435498"/>
            <a:ext cx="11018520" cy="16124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9390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11" indent="0">
              <a:buFont typeface="Wingdings" panose="05000000000000000000" pitchFamily="2" charset="2"/>
              <a:buNone/>
              <a:defRPr sz="1999" b="0"/>
            </a:lvl2pPr>
            <a:lvl3pPr marL="450715" indent="0">
              <a:buFont typeface="Wingdings" panose="05000000000000000000" pitchFamily="2" charset="2"/>
              <a:buNone/>
              <a:tabLst/>
              <a:defRPr sz="1600" b="0"/>
            </a:lvl3pPr>
            <a:lvl4pPr marL="652266" indent="0">
              <a:buFont typeface="Wingdings" panose="05000000000000000000" pitchFamily="2" charset="2"/>
              <a:buNone/>
              <a:defRPr sz="1400" b="0"/>
            </a:lvl4pPr>
            <a:lvl5pPr marL="853819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2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11" indent="0">
              <a:buFont typeface="Wingdings" panose="05000000000000000000" pitchFamily="2" charset="2"/>
              <a:buNone/>
              <a:defRPr sz="1999" b="0"/>
            </a:lvl2pPr>
            <a:lvl3pPr marL="450715" indent="0">
              <a:buFont typeface="Wingdings" panose="05000000000000000000" pitchFamily="2" charset="2"/>
              <a:buNone/>
              <a:tabLst/>
              <a:defRPr sz="1600" b="0"/>
            </a:lvl3pPr>
            <a:lvl4pPr marL="652266" indent="0">
              <a:buFont typeface="Wingdings" panose="05000000000000000000" pitchFamily="2" charset="2"/>
              <a:buNone/>
              <a:defRPr sz="1400" b="0"/>
            </a:lvl4pPr>
            <a:lvl5pPr marL="853819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0751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1" y="1437481"/>
            <a:ext cx="5212080" cy="1649682"/>
          </a:xfrm>
        </p:spPr>
        <p:txBody>
          <a:bodyPr wrap="square">
            <a:spAutoFit/>
          </a:bodyPr>
          <a:lstStyle>
            <a:lvl1pPr marL="231705" indent="-23170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10" indent="-171399">
              <a:buFont typeface="Wingdings" panose="05000000000000000000" pitchFamily="2" charset="2"/>
              <a:buChar char=""/>
              <a:defRPr sz="1999" b="0"/>
            </a:lvl2pPr>
            <a:lvl3pPr marL="639571" indent="-188856">
              <a:buFont typeface="Wingdings" panose="05000000000000000000" pitchFamily="2" charset="2"/>
              <a:buChar char=""/>
              <a:tabLst/>
              <a:defRPr sz="1600" b="0"/>
            </a:lvl3pPr>
            <a:lvl4pPr marL="828426" indent="-176160">
              <a:buFont typeface="Wingdings" panose="05000000000000000000" pitchFamily="2" charset="2"/>
              <a:buChar char=""/>
              <a:defRPr sz="1400" b="0"/>
            </a:lvl4pPr>
            <a:lvl5pPr marL="1023631" indent="-169812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5" y="1437481"/>
            <a:ext cx="5212080" cy="1649682"/>
          </a:xfrm>
        </p:spPr>
        <p:txBody>
          <a:bodyPr wrap="square">
            <a:spAutoFit/>
          </a:bodyPr>
          <a:lstStyle>
            <a:lvl1pPr marL="231705" indent="-23170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799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6910" indent="-171399">
              <a:buFont typeface="Wingdings" panose="05000000000000000000" pitchFamily="2" charset="2"/>
              <a:buChar char=""/>
              <a:defRPr sz="1999" b="0"/>
            </a:lvl2pPr>
            <a:lvl3pPr marL="639571" indent="-188856">
              <a:buFont typeface="Wingdings" panose="05000000000000000000" pitchFamily="2" charset="2"/>
              <a:buChar char=""/>
              <a:tabLst/>
              <a:defRPr sz="1600" b="0"/>
            </a:lvl3pPr>
            <a:lvl4pPr marL="828426" indent="-176160">
              <a:buFont typeface="Wingdings" panose="05000000000000000000" pitchFamily="2" charset="2"/>
              <a:buChar char=""/>
              <a:defRPr sz="1400" b="0"/>
            </a:lvl4pPr>
            <a:lvl5pPr marL="1023631" indent="-169812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6275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622671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05094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457200"/>
            <a:ext cx="5508419" cy="372410"/>
          </a:xfrm>
        </p:spPr>
        <p:txBody>
          <a:bodyPr tIns="64008"/>
          <a:lstStyle>
            <a:lvl1pPr>
              <a:defRPr sz="1999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4523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457200"/>
            <a:ext cx="5508419" cy="372410"/>
          </a:xfrm>
        </p:spPr>
        <p:txBody>
          <a:bodyPr tIns="64008"/>
          <a:lstStyle>
            <a:lvl1pPr>
              <a:defRPr sz="1999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297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599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3"/>
            <a:ext cx="4162425" cy="307777"/>
          </a:xfrm>
        </p:spPr>
        <p:txBody>
          <a:bodyPr/>
          <a:lstStyle>
            <a:lvl1pPr marL="0" indent="0">
              <a:buNone/>
              <a:defRPr sz="1999">
                <a:latin typeface="+mn-lt"/>
              </a:defRPr>
            </a:lvl1pPr>
            <a:lvl2pPr marL="228531" indent="0">
              <a:buNone/>
              <a:defRPr/>
            </a:lvl2pPr>
            <a:lvl3pPr marL="457063" indent="0">
              <a:buNone/>
              <a:defRPr/>
            </a:lvl3pPr>
            <a:lvl4pPr marL="661789" indent="0">
              <a:buNone/>
              <a:defRPr/>
            </a:lvl4pPr>
            <a:lvl5pPr marL="85540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83018294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448800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225">
              <a:defRPr/>
            </a:pPr>
            <a:fld id="{A34B8C21-472C-43AD-8B9F-5964D09AB204}" type="slidenum">
              <a:rPr lang="en-IN" smtClean="0">
                <a:solidFill>
                  <a:srgbClr val="505050"/>
                </a:solidFill>
                <a:latin typeface="Segoe UI"/>
              </a:rPr>
              <a:pPr defTabSz="914225">
                <a:defRPr/>
              </a:pPr>
              <a:t>‹#›</a:t>
            </a:fld>
            <a:endParaRPr lang="en-IN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>
                <a:solidFill>
                  <a:srgbClr val="00B29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4023601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6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599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4363868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799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7801545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1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996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21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1C388-D05E-4BD1-8D7C-196F5BE5D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42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345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3FAF49-2747-46DC-BE92-CD844B707A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178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16347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9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77504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742815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9954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9E3F1-5A51-4B35-B9B4-F38309368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3216" y="289513"/>
            <a:ext cx="6421864" cy="899665"/>
          </a:xfrm>
        </p:spPr>
        <p:txBody>
          <a:bodyPr/>
          <a:lstStyle>
            <a:lvl1pPr>
              <a:defRPr lang="en-US" sz="3529" b="0" kern="1200" cap="none" spc="-1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02D8466-407C-4220-B6A8-8C189F42E00B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1" y="0"/>
            <a:ext cx="5302440" cy="673454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2284D3-DBDC-495E-984E-DA902FB7BB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3217" y="1661166"/>
            <a:ext cx="6421863" cy="817794"/>
          </a:xfrm>
        </p:spPr>
        <p:txBody>
          <a:bodyPr/>
          <a:lstStyle>
            <a:lvl1pPr marL="0" indent="0">
              <a:spcBef>
                <a:spcPts val="1765"/>
              </a:spcBef>
              <a:spcAft>
                <a:spcPts val="588"/>
              </a:spcAft>
              <a:buNone/>
              <a:defRPr sz="196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588"/>
              </a:spcAft>
              <a:buNone/>
              <a:defRPr lang="en-US" sz="1568" kern="1200" spc="88" baseline="0" dirty="0" smtClean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>
              <a:defRPr sz="1176"/>
            </a:lvl3pPr>
            <a:lvl4pPr>
              <a:defRPr sz="1078"/>
            </a:lvl4pPr>
            <a:lvl5pPr>
              <a:defRPr sz="1078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48161163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4" y="1436690"/>
            <a:ext cx="11018520" cy="1908215"/>
          </a:xfrm>
        </p:spPr>
        <p:txBody>
          <a:bodyPr/>
          <a:lstStyle>
            <a:lvl1pPr marL="0" indent="0">
              <a:buNone/>
              <a:defRPr sz="2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0952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1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01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1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1897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1" y="1436690"/>
            <a:ext cx="11018838" cy="2215991"/>
          </a:xfrm>
        </p:spPr>
        <p:txBody>
          <a:bodyPr>
            <a:spAutoFit/>
          </a:bodyPr>
          <a:lstStyle>
            <a:lvl1pPr>
              <a:defRPr sz="3599">
                <a:latin typeface="+mn-lt"/>
              </a:defRPr>
            </a:lvl1pPr>
            <a:lvl2pPr>
              <a:defRPr sz="2799">
                <a:latin typeface="+mn-lt"/>
              </a:defRPr>
            </a:lvl2pPr>
            <a:lvl3pPr>
              <a:defRPr sz="2399">
                <a:latin typeface="+mn-lt"/>
              </a:defRPr>
            </a:lvl3pPr>
            <a:lvl4pPr>
              <a:defRPr sz="1999">
                <a:latin typeface="+mn-lt"/>
              </a:defRPr>
            </a:lvl4pPr>
            <a:lvl5pPr>
              <a:defRPr sz="1799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40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47192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270797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52299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0895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8" y="495121"/>
            <a:ext cx="11653523" cy="510461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3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2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0184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9"/>
            <a:ext cx="11653523" cy="160524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980159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4" y="2626222"/>
            <a:ext cx="5692890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41199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4198125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7" y="3412174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412172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5628511" y="2626222"/>
            <a:ext cx="5536180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eep transform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D9541E-22DB-4D52-8181-A1AA5720B347}"/>
              </a:ext>
            </a:extLst>
          </p:cNvPr>
          <p:cNvSpPr txBox="1"/>
          <p:nvPr userDrawn="1"/>
        </p:nvSpPr>
        <p:spPr>
          <a:xfrm>
            <a:off x="202097" y="105524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5DD86FF-CF8D-4D5A-97BA-7526A8303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28510" y="1055245"/>
            <a:ext cx="6274975" cy="1028808"/>
          </a:xfrm>
        </p:spPr>
        <p:txBody>
          <a:bodyPr lIns="182880" tIns="146304" rIns="182880" bIns="146304"/>
          <a:lstStyle>
            <a:lvl1pPr marL="0" indent="0">
              <a:buNone/>
              <a:defRPr sz="5295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931529-E991-4DB3-B887-1383B877392A}"/>
              </a:ext>
            </a:extLst>
          </p:cNvPr>
          <p:cNvSpPr txBox="1"/>
          <p:nvPr userDrawn="1"/>
        </p:nvSpPr>
        <p:spPr>
          <a:xfrm>
            <a:off x="202097" y="1840270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B98947-DEBB-40AF-8C56-C6A65155B05A}"/>
              </a:ext>
            </a:extLst>
          </p:cNvPr>
          <p:cNvSpPr txBox="1"/>
          <p:nvPr userDrawn="1"/>
        </p:nvSpPr>
        <p:spPr>
          <a:xfrm>
            <a:off x="202097" y="419812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1AB3B0-9D9C-4DCF-AD0D-97258F1220DE}"/>
              </a:ext>
            </a:extLst>
          </p:cNvPr>
          <p:cNvGrpSpPr/>
          <p:nvPr userDrawn="1"/>
        </p:nvGrpSpPr>
        <p:grpSpPr>
          <a:xfrm>
            <a:off x="7342825" y="5999446"/>
            <a:ext cx="4637360" cy="621324"/>
            <a:chOff x="274638" y="4554931"/>
            <a:chExt cx="4730349" cy="63369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51D9E96-E652-43D7-AD1D-25CF06E38D9D}"/>
                </a:ext>
              </a:extLst>
            </p:cNvPr>
            <p:cNvSpPr txBox="1"/>
            <p:nvPr userDrawn="1"/>
          </p:nvSpPr>
          <p:spPr>
            <a:xfrm>
              <a:off x="274638" y="4554931"/>
              <a:ext cx="4730349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10FA7F9-9C23-492E-BC3D-96F67220A1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27109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7342825" y="5999446"/>
            <a:ext cx="4637360" cy="621324"/>
            <a:chOff x="274638" y="4554931"/>
            <a:chExt cx="4730349" cy="63369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4730349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attle, WA	Jan 29–Feb 2, 2018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2159398" y="4685985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4" y="2626222"/>
            <a:ext cx="11052947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keep transform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8" y="3412174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grow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8" y="4198127"/>
            <a:ext cx="5661415" cy="102300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succe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1840270"/>
            <a:ext cx="2535359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lear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75F147-F187-406F-B1C7-8708AB3B7EBF}"/>
              </a:ext>
            </a:extLst>
          </p:cNvPr>
          <p:cNvSpPr txBox="1"/>
          <p:nvPr userDrawn="1"/>
        </p:nvSpPr>
        <p:spPr>
          <a:xfrm>
            <a:off x="4927288" y="1055247"/>
            <a:ext cx="2958167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dream</a:t>
            </a:r>
          </a:p>
        </p:txBody>
      </p:sp>
    </p:spTree>
    <p:extLst>
      <p:ext uri="{BB962C8B-B14F-4D97-AF65-F5344CB8AC3E}">
        <p14:creationId xmlns:p14="http://schemas.microsoft.com/office/powerpoint/2010/main" val="1892288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4" y="2084187"/>
            <a:ext cx="8964185" cy="1793091"/>
          </a:xfrm>
          <a:noFill/>
        </p:spPr>
        <p:txBody>
          <a:bodyPr lIns="146304" tIns="91440" rIns="146304" bIns="91440" anchor="t" anchorCtr="0"/>
          <a:lstStyle>
            <a:lvl1pPr>
              <a:defRPr sz="5295" spc="-99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4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1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37" indent="0">
              <a:buNone/>
              <a:defRPr sz="1961"/>
            </a:lvl2pPr>
            <a:lvl3pPr marL="560227" indent="0">
              <a:buNone/>
              <a:defRPr sz="1961"/>
            </a:lvl3pPr>
            <a:lvl4pPr marL="784319" indent="0">
              <a:buNone/>
              <a:defRPr sz="1961"/>
            </a:lvl4pPr>
            <a:lvl5pPr marL="1008409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1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37" indent="0">
              <a:buNone/>
              <a:defRPr sz="1961"/>
            </a:lvl2pPr>
            <a:lvl3pPr marL="560227" indent="0">
              <a:buNone/>
              <a:defRPr sz="1961"/>
            </a:lvl3pPr>
            <a:lvl4pPr marL="784319" indent="0">
              <a:buNone/>
              <a:defRPr sz="1961"/>
            </a:lvl4pPr>
            <a:lvl5pPr marL="1008409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656437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66" name="Group 165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67" name="Group 166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73" name="Freeform: Shape 172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4" name="Freeform: Shape 173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5" name="Freeform: Shape 174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6" name="Freeform: Shape 175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68" name="Group 167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69" name="Freeform: Shape 168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0" name="Freeform: Shape 169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1" name="Freeform: Shape 170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72" name="Freeform: Shape 171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-814610" y="4052583"/>
            <a:ext cx="4604401" cy="3537327"/>
            <a:chOff x="-814611" y="4052582"/>
            <a:chExt cx="4604401" cy="3537327"/>
          </a:xfrm>
        </p:grpSpPr>
        <p:sp>
          <p:nvSpPr>
            <p:cNvPr id="122" name="Freeform: Shape 121"/>
            <p:cNvSpPr/>
            <p:nvPr/>
          </p:nvSpPr>
          <p:spPr>
            <a:xfrm rot="6340721">
              <a:off x="730446" y="309333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 rot="4480905">
              <a:off x="-94312" y="3705806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" name="Title 1"/>
          <p:cNvSpPr>
            <a:spLocks noGrp="1"/>
          </p:cNvSpPr>
          <p:nvPr userDrawn="1">
            <p:ph type="title"/>
          </p:nvPr>
        </p:nvSpPr>
        <p:spPr>
          <a:xfrm>
            <a:off x="1056885" y="2239229"/>
            <a:ext cx="9440739" cy="3424745"/>
          </a:xfrm>
        </p:spPr>
        <p:txBody>
          <a:bodyPr>
            <a:noAutofit/>
          </a:bodyPr>
          <a:lstStyle>
            <a:lvl1pPr>
              <a:defRPr sz="7998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31947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9" cy="2328587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2" indent="0">
              <a:buNone/>
              <a:defRPr/>
            </a:lvl2pPr>
            <a:lvl3pPr marL="448182" indent="0">
              <a:buNone/>
              <a:defRPr/>
            </a:lvl3pPr>
            <a:lvl4pPr marL="672274" indent="0">
              <a:buNone/>
              <a:defRPr/>
            </a:lvl4pPr>
            <a:lvl5pPr marL="89636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24673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5"/>
            <a:ext cx="11655079" cy="23285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5977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5"/>
            <a:ext cx="5378548" cy="214759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47" indent="0">
              <a:buFont typeface="Wingdings" panose="05000000000000000000" pitchFamily="2" charset="2"/>
              <a:buNone/>
              <a:defRPr sz="2353" b="0"/>
            </a:lvl2pPr>
            <a:lvl3pPr marL="441957" indent="0">
              <a:buFont typeface="Wingdings" panose="05000000000000000000" pitchFamily="2" charset="2"/>
              <a:buNone/>
              <a:tabLst/>
              <a:defRPr sz="2157" b="0"/>
            </a:lvl3pPr>
            <a:lvl4pPr marL="639592" indent="0">
              <a:buFont typeface="Wingdings" panose="05000000000000000000" pitchFamily="2" charset="2"/>
              <a:buNone/>
              <a:defRPr sz="2157" b="0"/>
            </a:lvl4pPr>
            <a:lvl5pPr marL="83723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47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57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592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3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05" marR="0" lvl="0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05" marR="0" lvl="1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05" marR="0" lvl="2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05" marR="0" lvl="3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05" marR="0" lvl="4" indent="-504205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254629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7645"/>
            <a:ext cx="5378548" cy="2147596"/>
          </a:xfrm>
        </p:spPr>
        <p:txBody>
          <a:bodyPr wrap="square">
            <a:spAutoFit/>
          </a:bodyPr>
          <a:lstStyle>
            <a:lvl1pPr marL="227204" indent="-227204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15" indent="-168068">
              <a:buFont typeface="Wingdings" panose="05000000000000000000" pitchFamily="2" charset="2"/>
              <a:buChar char=""/>
              <a:defRPr sz="2353" b="0"/>
            </a:lvl2pPr>
            <a:lvl3pPr marL="627144" indent="-185186">
              <a:buFont typeface="Wingdings" panose="05000000000000000000" pitchFamily="2" charset="2"/>
              <a:buChar char=""/>
              <a:tabLst/>
              <a:defRPr sz="2157" b="0"/>
            </a:lvl3pPr>
            <a:lvl4pPr marL="812330" indent="-172738">
              <a:buFont typeface="Wingdings" panose="05000000000000000000" pitchFamily="2" charset="2"/>
              <a:buChar char=""/>
              <a:defRPr sz="2157" b="0"/>
            </a:lvl4pPr>
            <a:lvl5pPr marL="1003742" indent="-166513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670" indent="-281670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84" indent="-336137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094" indent="-336137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29" indent="-336137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65" indent="-336137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4" marR="0" lvl="0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4" marR="0" lvl="1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4" marR="0" lvl="2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4" marR="0" lvl="3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4" marR="0" lvl="4" indent="-227204" algn="l" defTabSz="914344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69199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924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black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98206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AA35A8-E087-426C-BCE4-DED8074F0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12251-C1D1-475D-8A57-2211DEE249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29D8-794D-4883-8C4C-E48B36FF0C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3D017F-9DA9-4A5B-A016-2791FEABC1C3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2/2018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D57FFF-BD67-4A81-A546-BAF4B6C8D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0CA30-A1E9-4315-8384-AC67A7BAE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D9568B-6C42-40FB-BA7D-BAFC60EE407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159864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089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5598C7-98FA-4441-9A16-6865D6BEA2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9CEFEC-B499-4D69-AEAE-D3E52BD754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75" indent="0" algn="ctr">
              <a:buNone/>
              <a:defRPr sz="1999"/>
            </a:lvl2pPr>
            <a:lvl3pPr marL="913951" indent="0" algn="ctr">
              <a:buNone/>
              <a:defRPr sz="1799"/>
            </a:lvl3pPr>
            <a:lvl4pPr marL="1370926" indent="0" algn="ctr">
              <a:buNone/>
              <a:defRPr sz="1600"/>
            </a:lvl4pPr>
            <a:lvl5pPr marL="1827900" indent="0" algn="ctr">
              <a:buNone/>
              <a:defRPr sz="1600"/>
            </a:lvl5pPr>
            <a:lvl6pPr marL="2284875" indent="0" algn="ctr">
              <a:buNone/>
              <a:defRPr sz="1600"/>
            </a:lvl6pPr>
            <a:lvl7pPr marL="2741851" indent="0" algn="ctr">
              <a:buNone/>
              <a:defRPr sz="1600"/>
            </a:lvl7pPr>
            <a:lvl8pPr marL="3198825" indent="0" algn="ctr">
              <a:buNone/>
              <a:defRPr sz="1600"/>
            </a:lvl8pPr>
            <a:lvl9pPr marL="36558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36EC2D-1DDE-44DD-A9B6-D13BED7AD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F2E327-2285-4FFE-A444-0A32F1E9D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1E8FFA-1F8B-48EA-B39E-5EBE22AD9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04305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45A05-5749-4AC9-8774-4B958AC52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ECF56E-1913-4C84-AFB7-141C311662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B4B18C-A37E-49CD-9C41-7AB0C0113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CB07A0-EC62-4F71-A5E1-7B9FB9603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F2508F-BD82-48F6-B10E-3F5D5C4A8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931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9587401" y="6115482"/>
            <a:ext cx="0" cy="358617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27206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732971" y="6452314"/>
              <a:ext cx="5762172" cy="1043601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5762172"/>
                <a:gd name="connsiteY0" fmla="*/ 1865099 h 2282384"/>
                <a:gd name="connsiteX1" fmla="*/ 765629 w 5762172"/>
                <a:gd name="connsiteY1" fmla="*/ 13 h 2282384"/>
                <a:gd name="connsiteX2" fmla="*/ 1375229 w 5762172"/>
                <a:gd name="connsiteY2" fmla="*/ 1897756 h 2282384"/>
                <a:gd name="connsiteX3" fmla="*/ 2039258 w 5762172"/>
                <a:gd name="connsiteY3" fmla="*/ 801927 h 2282384"/>
                <a:gd name="connsiteX4" fmla="*/ 2525486 w 5762172"/>
                <a:gd name="connsiteY4" fmla="*/ 1846956 h 2282384"/>
                <a:gd name="connsiteX5" fmla="*/ 2989943 w 5762172"/>
                <a:gd name="connsiteY5" fmla="*/ 1273641 h 2282384"/>
                <a:gd name="connsiteX6" fmla="*/ 3305629 w 5762172"/>
                <a:gd name="connsiteY6" fmla="*/ 1763499 h 2282384"/>
                <a:gd name="connsiteX7" fmla="*/ 3701143 w 5762172"/>
                <a:gd name="connsiteY7" fmla="*/ 399156 h 2282384"/>
                <a:gd name="connsiteX8" fmla="*/ 4093029 w 5762172"/>
                <a:gd name="connsiteY8" fmla="*/ 1357099 h 2282384"/>
                <a:gd name="connsiteX9" fmla="*/ 4383315 w 5762172"/>
                <a:gd name="connsiteY9" fmla="*/ 747499 h 2282384"/>
                <a:gd name="connsiteX10" fmla="*/ 4822372 w 5762172"/>
                <a:gd name="connsiteY10" fmla="*/ 1886870 h 2282384"/>
                <a:gd name="connsiteX11" fmla="*/ 5308600 w 5762172"/>
                <a:gd name="connsiteY11" fmla="*/ 928927 h 2282384"/>
                <a:gd name="connsiteX12" fmla="*/ 5762172 w 5762172"/>
                <a:gd name="connsiteY12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172" h="2282384">
                  <a:moveTo>
                    <a:pt x="0" y="1865099"/>
                  </a:moveTo>
                  <a:cubicBezTo>
                    <a:pt x="255209" y="1666737"/>
                    <a:pt x="536424" y="-5430"/>
                    <a:pt x="765629" y="13"/>
                  </a:cubicBezTo>
                  <a:cubicBezTo>
                    <a:pt x="994834" y="5456"/>
                    <a:pt x="1162957" y="1764104"/>
                    <a:pt x="1375229" y="1897756"/>
                  </a:cubicBezTo>
                  <a:cubicBezTo>
                    <a:pt x="1587501" y="2031408"/>
                    <a:pt x="1847549" y="810394"/>
                    <a:pt x="2039258" y="801927"/>
                  </a:cubicBezTo>
                  <a:cubicBezTo>
                    <a:pt x="2230967" y="793460"/>
                    <a:pt x="2367039" y="1768337"/>
                    <a:pt x="2525486" y="1846956"/>
                  </a:cubicBezTo>
                  <a:cubicBezTo>
                    <a:pt x="2683933" y="1925575"/>
                    <a:pt x="2859919" y="1287550"/>
                    <a:pt x="2989943" y="1273641"/>
                  </a:cubicBezTo>
                  <a:cubicBezTo>
                    <a:pt x="3119967" y="1259732"/>
                    <a:pt x="3187096" y="1909247"/>
                    <a:pt x="3305629" y="1763499"/>
                  </a:cubicBezTo>
                  <a:cubicBezTo>
                    <a:pt x="3424162" y="1617752"/>
                    <a:pt x="3569910" y="466889"/>
                    <a:pt x="3701143" y="399156"/>
                  </a:cubicBezTo>
                  <a:cubicBezTo>
                    <a:pt x="3832376" y="331423"/>
                    <a:pt x="3979334" y="1299042"/>
                    <a:pt x="4093029" y="1357099"/>
                  </a:cubicBezTo>
                  <a:cubicBezTo>
                    <a:pt x="4206724" y="1415156"/>
                    <a:pt x="4261758" y="659204"/>
                    <a:pt x="4383315" y="747499"/>
                  </a:cubicBezTo>
                  <a:cubicBezTo>
                    <a:pt x="4504872" y="835794"/>
                    <a:pt x="4668158" y="1856632"/>
                    <a:pt x="4822372" y="1886870"/>
                  </a:cubicBezTo>
                  <a:cubicBezTo>
                    <a:pt x="4976586" y="1917108"/>
                    <a:pt x="5151967" y="863008"/>
                    <a:pt x="5308600" y="928927"/>
                  </a:cubicBezTo>
                  <a:cubicBezTo>
                    <a:pt x="5465233" y="994846"/>
                    <a:pt x="5613702" y="1638615"/>
                    <a:pt x="5762172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21" name="Group 120"/>
          <p:cNvGrpSpPr/>
          <p:nvPr userDrawn="1"/>
        </p:nvGrpSpPr>
        <p:grpSpPr>
          <a:xfrm rot="4480905">
            <a:off x="-193235" y="3476287"/>
            <a:ext cx="3437832" cy="4758449"/>
            <a:chOff x="9385524" y="2790411"/>
            <a:chExt cx="3437832" cy="4758449"/>
          </a:xfrm>
        </p:grpSpPr>
        <p:sp>
          <p:nvSpPr>
            <p:cNvPr id="122" name="Freeform: Shape 121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86645" y="3126797"/>
                <a:ext cx="1657518" cy="3532144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  <a:gd name="connsiteX0" fmla="*/ 1226774 w 1394417"/>
                  <a:gd name="connsiteY0" fmla="*/ 0 h 3334657"/>
                  <a:gd name="connsiteX1" fmla="*/ 660717 w 1394417"/>
                  <a:gd name="connsiteY1" fmla="*/ 254000 h 3334657"/>
                  <a:gd name="connsiteX2" fmla="*/ 1299345 w 1394417"/>
                  <a:gd name="connsiteY2" fmla="*/ 635000 h 3334657"/>
                  <a:gd name="connsiteX3" fmla="*/ 317 w 1394417"/>
                  <a:gd name="connsiteY3" fmla="*/ 1157514 h 3334657"/>
                  <a:gd name="connsiteX4" fmla="*/ 1168717 w 1394417"/>
                  <a:gd name="connsiteY4" fmla="*/ 2028371 h 3334657"/>
                  <a:gd name="connsiteX5" fmla="*/ 504688 w 1394417"/>
                  <a:gd name="connsiteY5" fmla="*/ 2630714 h 3334657"/>
                  <a:gd name="connsiteX6" fmla="*/ 1379174 w 1394417"/>
                  <a:gd name="connsiteY6" fmla="*/ 3066143 h 3334657"/>
                  <a:gd name="connsiteX7" fmla="*/ 1081631 w 1394417"/>
                  <a:gd name="connsiteY7" fmla="*/ 3334657 h 333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4417" h="3334657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53" name="Group 152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59" name="Freeform: Shape 158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Freeform: Shape 159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Freeform: Shape 160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Freeform: Shape 161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55" name="Freeform: Shape 154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Freeform: Shape 155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Freeform: Shape 156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Freeform: Shape 157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511330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DB89E-ABAB-49F5-A428-A943B585F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1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C9F2F-3B49-407C-B533-ED5E1BA23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6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5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51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9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8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8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F8A69-AC4B-4BB5-BDE6-1AB53FED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605CF-465F-43C8-888E-9741D6157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7AC51-770B-4C2B-B1E0-7CD4889FC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08136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2BD4CF-99F2-4D57-ACD7-D066F8A2A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1C9D3B-935A-487B-B374-4EA31E375E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18651A-B5E7-4CBC-8B2A-A9659DCFEB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19A43F-266F-4B08-B395-487BC3CFBC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D470BB-F142-4561-85A9-405B1FADE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FFF173-CB13-4D18-9D44-A8E423A79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4692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E223E-99EA-4DE2-8C64-13D36E777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8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CAA717-1474-4998-BC66-5552C7F2BB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5" indent="0">
              <a:buNone/>
              <a:defRPr sz="1999" b="1"/>
            </a:lvl2pPr>
            <a:lvl3pPr marL="913951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1" indent="0">
              <a:buNone/>
              <a:defRPr sz="1600" b="1"/>
            </a:lvl7pPr>
            <a:lvl8pPr marL="3198825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5CB5EF-51FA-44DC-BD68-7493503658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BF8C9E-03B6-41DE-A1DB-FD56FBFA7C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5" indent="0">
              <a:buNone/>
              <a:defRPr sz="1999" b="1"/>
            </a:lvl2pPr>
            <a:lvl3pPr marL="913951" indent="0">
              <a:buNone/>
              <a:defRPr sz="1799" b="1"/>
            </a:lvl3pPr>
            <a:lvl4pPr marL="1370926" indent="0">
              <a:buNone/>
              <a:defRPr sz="1600" b="1"/>
            </a:lvl4pPr>
            <a:lvl5pPr marL="1827900" indent="0">
              <a:buNone/>
              <a:defRPr sz="1600" b="1"/>
            </a:lvl5pPr>
            <a:lvl6pPr marL="2284875" indent="0">
              <a:buNone/>
              <a:defRPr sz="1600" b="1"/>
            </a:lvl6pPr>
            <a:lvl7pPr marL="2741851" indent="0">
              <a:buNone/>
              <a:defRPr sz="1600" b="1"/>
            </a:lvl7pPr>
            <a:lvl8pPr marL="3198825" indent="0">
              <a:buNone/>
              <a:defRPr sz="1600" b="1"/>
            </a:lvl8pPr>
            <a:lvl9pPr marL="36558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3F1013F-01D0-4B43-9920-A34CC45A9E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3642FDB-CBC9-45AF-B4B9-FA9B602B90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6489A92-54AC-4919-9A25-A43B80CA8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D11812-FF17-4908-8DBE-E015F4C20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17293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A3B00-F766-45D3-A7E8-3B3752306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511BCE-0813-42C8-8B7C-0EB60FCA7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D96101-F997-454F-B0F2-BC315304C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781A9F-CB6B-4C7E-9750-CD0FA5996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5816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2F015D-2E39-40E0-8A01-131E5AB608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434CAB-495B-4F2B-B05B-B09B49841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01C4A-D6C5-4718-B230-1EE277916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83922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C9E31D-20D8-452A-9959-1B22621A9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3459C8-A511-4F51-903D-E5D1159730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9" y="987428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C56E3E-CDBD-4F62-95A4-0A9688977C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75" indent="0">
              <a:buNone/>
              <a:defRPr sz="1400"/>
            </a:lvl2pPr>
            <a:lvl3pPr marL="913951" indent="0">
              <a:buNone/>
              <a:defRPr sz="1200"/>
            </a:lvl3pPr>
            <a:lvl4pPr marL="1370926" indent="0">
              <a:buNone/>
              <a:defRPr sz="1000"/>
            </a:lvl4pPr>
            <a:lvl5pPr marL="1827900" indent="0">
              <a:buNone/>
              <a:defRPr sz="1000"/>
            </a:lvl5pPr>
            <a:lvl6pPr marL="2284875" indent="0">
              <a:buNone/>
              <a:defRPr sz="1000"/>
            </a:lvl6pPr>
            <a:lvl7pPr marL="2741851" indent="0">
              <a:buNone/>
              <a:defRPr sz="1000"/>
            </a:lvl7pPr>
            <a:lvl8pPr marL="3198825" indent="0">
              <a:buNone/>
              <a:defRPr sz="1000"/>
            </a:lvl8pPr>
            <a:lvl9pPr marL="36558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FB2D8D-0772-4A62-87CA-98EB2EED3A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6541FB-469F-4183-B3A9-3BD437F1B1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8243CD-0518-4259-AC68-488937FCE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90907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A7C40-2F46-4118-818E-0D4504535B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9344C2-56AE-44C9-B27B-4AFCD83103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9" y="987428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6975" indent="0">
              <a:buNone/>
              <a:defRPr sz="2799"/>
            </a:lvl2pPr>
            <a:lvl3pPr marL="913951" indent="0">
              <a:buNone/>
              <a:defRPr sz="2399"/>
            </a:lvl3pPr>
            <a:lvl4pPr marL="1370926" indent="0">
              <a:buNone/>
              <a:defRPr sz="1999"/>
            </a:lvl4pPr>
            <a:lvl5pPr marL="1827900" indent="0">
              <a:buNone/>
              <a:defRPr sz="1999"/>
            </a:lvl5pPr>
            <a:lvl6pPr marL="2284875" indent="0">
              <a:buNone/>
              <a:defRPr sz="1999"/>
            </a:lvl6pPr>
            <a:lvl7pPr marL="2741851" indent="0">
              <a:buNone/>
              <a:defRPr sz="1999"/>
            </a:lvl7pPr>
            <a:lvl8pPr marL="3198825" indent="0">
              <a:buNone/>
              <a:defRPr sz="1999"/>
            </a:lvl8pPr>
            <a:lvl9pPr marL="3655800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2AECAE-DB29-4A8D-9F16-57AD8818C6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75" indent="0">
              <a:buNone/>
              <a:defRPr sz="1400"/>
            </a:lvl2pPr>
            <a:lvl3pPr marL="913951" indent="0">
              <a:buNone/>
              <a:defRPr sz="1200"/>
            </a:lvl3pPr>
            <a:lvl4pPr marL="1370926" indent="0">
              <a:buNone/>
              <a:defRPr sz="1000"/>
            </a:lvl4pPr>
            <a:lvl5pPr marL="1827900" indent="0">
              <a:buNone/>
              <a:defRPr sz="1000"/>
            </a:lvl5pPr>
            <a:lvl6pPr marL="2284875" indent="0">
              <a:buNone/>
              <a:defRPr sz="1000"/>
            </a:lvl6pPr>
            <a:lvl7pPr marL="2741851" indent="0">
              <a:buNone/>
              <a:defRPr sz="1000"/>
            </a:lvl7pPr>
            <a:lvl8pPr marL="3198825" indent="0">
              <a:buNone/>
              <a:defRPr sz="1000"/>
            </a:lvl8pPr>
            <a:lvl9pPr marL="36558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2FBD9A-9528-4B73-9F12-36701F927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E79C7D-9DA3-4A26-9FE8-ADC6DE6BB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D3461B-E2B1-4E96-86D3-71806019B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4237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C8C28-D311-4258-B673-729333E8E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063538-75B4-46A4-944C-5D1B45BDDC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883D52-043D-422C-84F5-BE1A97AD0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B83D50-DDAE-4E35-B398-BAD98829A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AB3A10-E5F4-49E7-89B5-E9FEE7AA7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15671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4906419-E9BD-4C88-9F8F-2BCBF79EFF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8878FD-21C2-418F-8804-F6610D6B74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1A0776-E3BC-4DE4-8945-96D3B3544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AEF6A9-3878-4353-95BB-19BAC8AAC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1B9585-FFD7-4795-9BF2-F3B097749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74165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1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52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89"/>
          <p:cNvSpPr/>
          <p:nvPr userDrawn="1"/>
        </p:nvSpPr>
        <p:spPr>
          <a:xfrm>
            <a:off x="1" y="0"/>
            <a:ext cx="5763491" cy="6858000"/>
          </a:xfrm>
          <a:prstGeom prst="rect">
            <a:avLst/>
          </a:prstGeom>
          <a:solidFill>
            <a:srgbClr val="ECE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1" name="Content Placeholder 2"/>
          <p:cNvSpPr>
            <a:spLocks noGrp="1"/>
          </p:cNvSpPr>
          <p:nvPr>
            <p:ph idx="1"/>
          </p:nvPr>
        </p:nvSpPr>
        <p:spPr>
          <a:xfrm>
            <a:off x="360841" y="2650966"/>
            <a:ext cx="4470926" cy="1556071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marL="0" indent="0">
              <a:lnSpc>
                <a:spcPct val="100000"/>
              </a:lnSpc>
              <a:buNone/>
            </a:pPr>
            <a:r>
              <a:rPr lang="en-US" sz="3200" b="1" dirty="0">
                <a:solidFill>
                  <a:srgbClr val="002050"/>
                </a:solidFill>
                <a:latin typeface="+mn-lt"/>
                <a:ea typeface="+mj-ea"/>
              </a:rPr>
              <a:t>Technology leaders face a changing environment</a:t>
            </a:r>
            <a:endParaRPr lang="en-US" sz="2400" b="1" dirty="0">
              <a:solidFill>
                <a:srgbClr val="00205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691099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51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115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0" b="0">
                <a:latin typeface="+mn-lt"/>
              </a:defRPr>
            </a:lvl1pPr>
            <a:lvl2pPr marL="250478" indent="0">
              <a:buFont typeface="Wingdings" panose="05000000000000000000" pitchFamily="2" charset="2"/>
              <a:buNone/>
              <a:defRPr sz="2352" b="0"/>
            </a:lvl2pPr>
            <a:lvl3pPr marL="441835" indent="0">
              <a:buFont typeface="Wingdings" panose="05000000000000000000" pitchFamily="2" charset="2"/>
              <a:buNone/>
              <a:tabLst/>
              <a:defRPr sz="2156" b="0"/>
            </a:lvl3pPr>
            <a:lvl4pPr marL="639416" indent="0">
              <a:buFont typeface="Wingdings" panose="05000000000000000000" pitchFamily="2" charset="2"/>
              <a:buNone/>
              <a:defRPr sz="2156" b="0"/>
            </a:lvl4pPr>
            <a:lvl5pPr marL="836999" indent="0">
              <a:buFont typeface="Wingdings" panose="05000000000000000000" pitchFamily="2" charset="2"/>
              <a:buNone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78" indent="0">
              <a:buFont typeface="Arial" panose="020B0604020202020204" pitchFamily="34" charset="0"/>
              <a:buNone/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35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16" indent="0">
              <a:buFont typeface="Arial" panose="020B0604020202020204" pitchFamily="34" charset="0"/>
              <a:buNone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6999" indent="0">
              <a:buFont typeface="Arial" panose="020B0604020202020204" pitchFamily="34" charset="0"/>
              <a:buNone/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66" marR="0" lvl="0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66" marR="0" lvl="1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66" marR="0" lvl="2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66" marR="0" lvl="3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66" marR="0" lvl="4" indent="-504066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20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141" indent="-227141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0" b="0">
                <a:latin typeface="+mn-lt"/>
              </a:defRPr>
            </a:lvl1pPr>
            <a:lvl2pPr marL="418499" indent="-168022">
              <a:buFont typeface="Wingdings" panose="05000000000000000000" pitchFamily="2" charset="2"/>
              <a:buChar char=""/>
              <a:defRPr sz="2352" b="0"/>
            </a:lvl2pPr>
            <a:lvl3pPr marL="626972" indent="-185135">
              <a:buFont typeface="Wingdings" panose="05000000000000000000" pitchFamily="2" charset="2"/>
              <a:buChar char=""/>
              <a:tabLst/>
              <a:defRPr sz="2156" b="0"/>
            </a:lvl3pPr>
            <a:lvl4pPr marL="812106" indent="-172690">
              <a:buFont typeface="Wingdings" panose="05000000000000000000" pitchFamily="2" charset="2"/>
              <a:buChar char=""/>
              <a:defRPr sz="2156" b="0"/>
            </a:lvl4pPr>
            <a:lvl5pPr marL="1003465" indent="-166467">
              <a:buFont typeface="Wingdings" panose="05000000000000000000" pitchFamily="2" charset="2"/>
              <a:buChar char=""/>
              <a:tabLst/>
              <a:defRPr sz="2156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7644"/>
            <a:ext cx="5378548" cy="2429576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22" indent="-336044">
              <a:defRPr lang="en-US" sz="2352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880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460" indent="-336044"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043" indent="-336044">
              <a:tabLst/>
              <a:defRPr lang="en-US" sz="215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41" marR="0" lvl="0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41" marR="0" lvl="1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41" marR="0" lvl="2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41" marR="0" lvl="3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41" marR="0" lvl="4" indent="-227141" algn="l" defTabSz="91409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47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75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282049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8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52572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9856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23091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02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425439" y="0"/>
            <a:ext cx="676656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0839" y="2571750"/>
            <a:ext cx="4610303" cy="1714500"/>
          </a:xfrm>
        </p:spPr>
        <p:txBody>
          <a:bodyPr anchor="ctr">
            <a:noAutofit/>
          </a:bodyPr>
          <a:lstStyle>
            <a:lvl1pPr marL="0" indent="0">
              <a:buNone/>
              <a:defRPr lang="en-US" sz="4000" kern="1200" dirty="0">
                <a:solidFill>
                  <a:prstClr val="white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0315303" y="1"/>
            <a:ext cx="1876697" cy="496389"/>
          </a:xfrm>
          <a:solidFill>
            <a:schemeClr val="bg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2000" b="1" kern="0" dirty="0">
                <a:solidFill>
                  <a:schemeClr val="tx2"/>
                </a:solidFill>
                <a:latin typeface="+mn-lt"/>
                <a:ea typeface="Segoe UI" panose="020B0502040204020203" pitchFamily="34" charset="0"/>
              </a:defRPr>
            </a:lvl1pPr>
          </a:lstStyle>
          <a:p>
            <a:pPr marL="0" lvl="0" algn="ctr" defTabSz="930858">
              <a:spcBef>
                <a:spcPts val="612"/>
              </a:spcBef>
            </a:pPr>
            <a:r>
              <a:rPr lang="en-US" dirty="0"/>
              <a:t>Category</a:t>
            </a:r>
          </a:p>
        </p:txBody>
      </p:sp>
    </p:spTree>
    <p:extLst>
      <p:ext uri="{BB962C8B-B14F-4D97-AF65-F5344CB8AC3E}">
        <p14:creationId xmlns:p14="http://schemas.microsoft.com/office/powerpoint/2010/main" val="391490336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10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8885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3"/>
            <a:ext cx="6904778" cy="899665"/>
          </a:xfrm>
        </p:spPr>
        <p:txBody>
          <a:bodyPr/>
          <a:lstStyle>
            <a:lvl1pPr>
              <a:defRPr sz="39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4"/>
              </a:spcBef>
              <a:buNone/>
              <a:defRPr sz="1960">
                <a:latin typeface="+mn-lt"/>
              </a:defRPr>
            </a:lvl1pPr>
            <a:lvl2pPr marL="224030" indent="0">
              <a:buNone/>
              <a:defRPr/>
            </a:lvl2pPr>
            <a:lvl3pPr marL="448059" indent="0">
              <a:buNone/>
              <a:defRPr/>
            </a:lvl3pPr>
            <a:lvl4pPr marL="672088" indent="0">
              <a:buNone/>
              <a:defRPr/>
            </a:lvl4pPr>
            <a:lvl5pPr marL="8961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1" y="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34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2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0" tIns="45710" rIns="45710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spcBef>
                <a:spcPct val="0"/>
              </a:spcBef>
              <a:spcAft>
                <a:spcPct val="0"/>
              </a:spcAft>
            </a:pPr>
            <a:endParaRPr lang="en-US" sz="176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197322"/>
            <a:ext cx="11653522" cy="2225866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2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1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7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98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90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1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79238" rIns="179238" bIns="179238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87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184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3" y="2746096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6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869907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7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9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092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129869" y="5984140"/>
            <a:ext cx="1607625" cy="40344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89619" tIns="44809" rIns="89619" bIns="44809" numCol="1" anchor="t" anchorCtr="0" compatLnSpc="1">
            <a:prstTxWarp prst="textNoShape">
              <a:avLst/>
            </a:prstTxWarp>
          </a:bodyPr>
          <a:lstStyle/>
          <a:p>
            <a:endParaRPr lang="en-US" sz="1764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9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73047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262847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/>
              <a:t>12/2/2018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58B1C62-6523-40EB-A5E7-63AFE8AC4F9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29864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4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2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5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6050967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5" y="2084173"/>
            <a:ext cx="9860672" cy="1793104"/>
          </a:xfrm>
        </p:spPr>
        <p:txBody>
          <a:bodyPr/>
          <a:lstStyle>
            <a:lvl1pPr>
              <a:defRPr sz="4704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832498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044" indent="-336044">
              <a:buNone/>
              <a:defRPr kumimoji="0" lang="en-US" sz="2352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5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25715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00"/>
              </a:spcAft>
              <a:buNone/>
              <a:defRPr lang="en-US" sz="3528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defRPr sz="1862">
                <a:solidFill>
                  <a:srgbClr val="FFFFFF"/>
                </a:solidFill>
              </a:defRPr>
            </a:lvl5pPr>
          </a:lstStyle>
          <a:p>
            <a:pPr marL="0" lvl="0" indent="0" algn="l" defTabSz="895888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4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51932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28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5888" rtl="0" eaLnBrk="1" latinLnBrk="0" hangingPunct="1">
              <a:spcBef>
                <a:spcPct val="2000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69243" y="291070"/>
            <a:ext cx="11653522" cy="896552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4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54821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5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8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5888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40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6423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504822"/>
          </a:xfrm>
        </p:spPr>
        <p:txBody>
          <a:bodyPr>
            <a:spAutoFit/>
          </a:bodyPr>
          <a:lstStyle>
            <a:lvl1pPr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519" indent="-236475"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016" indent="-336044">
              <a:defRPr lang="en-US" sz="2352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0"/>
            </a:lvl4pPr>
            <a:lvl5pPr>
              <a:defRPr sz="1960"/>
            </a:lvl5pPr>
          </a:lstStyle>
          <a:p>
            <a:pPr marL="0" lvl="0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89588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6810934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6761150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095549" y="2425051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89619" tIns="44809" rIns="89619" bIns="44809" numCol="1" anchor="t" anchorCtr="0" compatLnSpc="1">
            <a:prstTxWarp prst="textNoShape">
              <a:avLst/>
            </a:prstTxWarp>
          </a:bodyPr>
          <a:lstStyle/>
          <a:p>
            <a:endParaRPr lang="en-US" sz="1764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7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5374679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1618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8" tIns="143391" rIns="179238" bIns="143391" numCol="1" anchor="t" anchorCtr="0" compatLnSpc="1">
            <a:prstTxWarp prst="textNoShape">
              <a:avLst/>
            </a:prstTxWarp>
            <a:spAutoFit/>
          </a:bodyPr>
          <a:lstStyle/>
          <a:p>
            <a:pPr defTabSz="913650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6" y="3085694"/>
            <a:ext cx="3227129" cy="68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99134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22258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69239" y="2262478"/>
            <a:ext cx="1532465" cy="316989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40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51738" y="2256322"/>
            <a:ext cx="3169353" cy="31822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095785" y="2257102"/>
            <a:ext cx="3826977" cy="318064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076404" y="2256137"/>
            <a:ext cx="2300636" cy="318257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40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4987159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076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88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1">
    <p:bg>
      <p:bgPr>
        <a:solidFill>
          <a:srgbClr val="2428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5026966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894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887529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DB89E-ABAB-49F5-A428-A943B585F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1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C9F2F-3B49-407C-B533-ED5E1BA23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6"/>
            <a:ext cx="10515600" cy="516936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5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51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9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8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8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F8A69-AC4B-4BB5-BDE6-1AB53FED5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605CF-465F-43C8-888E-9741D6157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7AC51-770B-4C2B-B1E0-7CD4889FC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30351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293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4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4" y="3877279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53241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544870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1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2464396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1" y="3145043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70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12" tIns="143372" rIns="179212" bIns="143372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056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928710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-2" y="4790977"/>
            <a:ext cx="4178809" cy="563231"/>
          </a:xfrm>
          <a:solidFill>
            <a:schemeClr val="bg2"/>
          </a:solidFill>
        </p:spPr>
        <p:txBody>
          <a:bodyPr vert="horz" lIns="457200" tIns="182880" rIns="365760" bIns="182880" rtlCol="0">
            <a:spAutoFit/>
          </a:bodyPr>
          <a:lstStyle>
            <a:lvl1pPr>
              <a:defRPr lang="en-US" sz="1400" b="1" smtClean="0">
                <a:solidFill>
                  <a:srgbClr val="002050"/>
                </a:solidFill>
                <a:latin typeface="Segoe UI"/>
                <a:cs typeface=""/>
              </a:defRPr>
            </a:lvl1pPr>
            <a:lvl2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lang="en-US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lang="en-US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marL="0" lvl="0" indent="0">
              <a:spcBef>
                <a:spcPts val="800"/>
              </a:spcBef>
              <a:spcAft>
                <a:spcPts val="600"/>
              </a:spcAft>
              <a:buClr>
                <a:srgbClr val="00C0F9"/>
              </a:buClr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5406864" cy="892552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91746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4" y="2629145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9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4" y="3199213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5" y="1774043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7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5" y="2344111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4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5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4" y="1489009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5" y="63839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3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5" y="633907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4" y="6049553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7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4" y="6619613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5" y="5194451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5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5" y="5764519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4" y="4339349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3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4" y="4909417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5" y="3484247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5" y="4054315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141639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87" indent="0">
              <a:buNone/>
              <a:defRPr/>
            </a:lvl3pPr>
            <a:lvl4pPr marL="447973" indent="0">
              <a:buNone/>
              <a:defRPr/>
            </a:lvl4pPr>
            <a:lvl5pPr marL="67195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1315713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4" y="5997082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0">
                <a:latin typeface="+mn-lt"/>
              </a:defRPr>
            </a:lvl1pPr>
            <a:lvl2pPr marL="336044" indent="0">
              <a:buNone/>
              <a:defRPr sz="1960"/>
            </a:lvl2pPr>
            <a:lvl3pPr marL="560073" indent="0">
              <a:buNone/>
              <a:defRPr sz="1960"/>
            </a:lvl3pPr>
            <a:lvl4pPr marL="784103" indent="0">
              <a:buNone/>
              <a:defRPr sz="1960"/>
            </a:lvl4pPr>
            <a:lvl5pPr marL="1008132" indent="0">
              <a:buNone/>
              <a:defRPr sz="196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578460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4" y="1187646"/>
            <a:ext cx="11655078" cy="20276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7760559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E73B716-5AC1-4E6F-99C0-F195B0C58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Azure DevOps presentation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78FD896-9F6B-4251-9F12-35FEF1AF74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1F9C5D-BBFD-AE42-A1D5-DA2C27C2E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35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Azure DevOps presentation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4442CC-A341-2548-8632-8304206EF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449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MSF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BC1E75-E2E7-40DF-9B34-E7ECA97A3F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804" y="2540313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Azure DevOps presentation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BFA596-B43C-4DAC-A798-0D495345CD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804" y="4342824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30372D-8606-427F-81BF-A215D788E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875" y="252099"/>
            <a:ext cx="1970160" cy="724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838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white Azure Dev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326A775-9A41-46BA-A0F5-6200093FCA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6141" y="2605914"/>
            <a:ext cx="4877472" cy="418762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3532A61-7338-495C-8787-A222781205FF}"/>
              </a:ext>
            </a:extLst>
          </p:cNvPr>
          <p:cNvSpPr/>
          <p:nvPr userDrawn="1"/>
        </p:nvSpPr>
        <p:spPr bwMode="auto">
          <a:xfrm>
            <a:off x="426425" y="2128263"/>
            <a:ext cx="7477989" cy="358620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12028E2-C5DC-4CA9-88C9-D5024B2AD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974" y="2540313"/>
            <a:ext cx="7028471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Azure DevOps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EFA9DF5-3A2A-422C-B2A6-A700C5CFD6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975" y="4342824"/>
            <a:ext cx="6107853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F17F8D-94AF-494A-9DEA-6500CB1B69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439310"/>
            <a:ext cx="1335673" cy="1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564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0897" y="1189288"/>
            <a:ext cx="3621494" cy="454391"/>
          </a:xfrm>
        </p:spPr>
        <p:txBody>
          <a:bodyPr lIns="0" tIns="0" rIns="0" bIns="0"/>
          <a:lstStyle>
            <a:lvl1pPr>
              <a:defRPr sz="1765" b="1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0897" y="1646473"/>
            <a:ext cx="3621494" cy="3289228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spc="0" baseline="0">
                <a:solidFill>
                  <a:schemeClr val="tx2"/>
                </a:solidFill>
                <a:latin typeface="+mn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B79444-4BA3-4CE3-9F8D-00DECAF267EE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D886E38-6DEB-477A-985F-0D8CB205C5D0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F9B269D-571A-44FF-AE48-CF094C28B01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3412800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</p:spTree>
    <p:extLst>
      <p:ext uri="{BB962C8B-B14F-4D97-AF65-F5344CB8AC3E}">
        <p14:creationId xmlns:p14="http://schemas.microsoft.com/office/powerpoint/2010/main" val="394147376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/>
              <a:t>12/2/2018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58B1C62-6523-40EB-A5E7-63AFE8AC4F95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2721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121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217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314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</p:spTree>
    <p:extLst>
      <p:ext uri="{BB962C8B-B14F-4D97-AF65-F5344CB8AC3E}">
        <p14:creationId xmlns:p14="http://schemas.microsoft.com/office/powerpoint/2010/main" val="4073317878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96552879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4690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90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3290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3291"/>
            <a:ext cx="3630521" cy="2649187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6641618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552412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0"/>
            <a:ext cx="5547873" cy="2602491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. </a:t>
            </a:r>
          </a:p>
        </p:txBody>
      </p:sp>
    </p:spTree>
    <p:extLst>
      <p:ext uri="{BB962C8B-B14F-4D97-AF65-F5344CB8AC3E}">
        <p14:creationId xmlns:p14="http://schemas.microsoft.com/office/powerpoint/2010/main" val="870108383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14882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wo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3289"/>
            <a:ext cx="5555966" cy="2605274"/>
          </a:xfrm>
        </p:spPr>
        <p:txBody>
          <a:bodyPr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9612" y="2313291"/>
            <a:ext cx="5547873" cy="2605273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 </a:t>
            </a:r>
          </a:p>
          <a:p>
            <a:pPr lvl="1"/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</a:t>
            </a:r>
          </a:p>
          <a:p>
            <a:pPr lvl="1"/>
            <a:r>
              <a:rPr lang="en-US"/>
              <a:t>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</a:t>
            </a:r>
          </a:p>
          <a:p>
            <a:pPr lvl="1"/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endParaRPr lang="en-US"/>
          </a:p>
          <a:p>
            <a:pPr lvl="1"/>
            <a:r>
              <a:rPr lang="en-US" err="1"/>
              <a:t>Pariatur</a:t>
            </a:r>
            <a:r>
              <a:rPr lang="en-US"/>
              <a:t>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</a:t>
            </a:r>
          </a:p>
          <a:p>
            <a:pPr lvl="1"/>
            <a:r>
              <a:rPr lang="en-US"/>
              <a:t>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 lorem ipsum dolor</a:t>
            </a:r>
          </a:p>
        </p:txBody>
      </p:sp>
    </p:spTree>
    <p:extLst>
      <p:ext uri="{BB962C8B-B14F-4D97-AF65-F5344CB8AC3E}">
        <p14:creationId xmlns:p14="http://schemas.microsoft.com/office/powerpoint/2010/main" val="1683049207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209610" y="0"/>
            <a:ext cx="598239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87B2D435-6763-4273-8B58-EEB8756175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222583"/>
            <a:ext cx="5555966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Photo layou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1129913"/>
            <a:ext cx="555596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</p:spTree>
    <p:extLst>
      <p:ext uri="{BB962C8B-B14F-4D97-AF65-F5344CB8AC3E}">
        <p14:creationId xmlns:p14="http://schemas.microsoft.com/office/powerpoint/2010/main" val="2346325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1179838"/>
            <a:ext cx="3632388" cy="2583813"/>
          </a:xfr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1179838"/>
            <a:ext cx="3623050" cy="2583813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1179838"/>
            <a:ext cx="3634002" cy="2583814"/>
          </a:xfrm>
          <a:blipFill>
            <a:blip r:embed="rId4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3986232"/>
            <a:ext cx="3630521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3986232"/>
            <a:ext cx="3623050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3986232"/>
            <a:ext cx="3630521" cy="114550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445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 photo layout</a:t>
            </a:r>
          </a:p>
        </p:txBody>
      </p:sp>
    </p:spTree>
    <p:extLst>
      <p:ext uri="{BB962C8B-B14F-4D97-AF65-F5344CB8AC3E}">
        <p14:creationId xmlns:p14="http://schemas.microsoft.com/office/powerpoint/2010/main" val="2452349967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photo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26424" y="1179838"/>
            <a:ext cx="3632388" cy="2583813"/>
          </a:xfr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281364" y="1179838"/>
            <a:ext cx="3623050" cy="2583813"/>
          </a:xfrm>
          <a:blipFill>
            <a:blip r:embed="rId3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8126963" y="1179838"/>
            <a:ext cx="3634002" cy="2583814"/>
          </a:xfrm>
          <a:blipFill>
            <a:blip r:embed="rId4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765" b="1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3986233"/>
            <a:ext cx="3630521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3986233"/>
            <a:ext cx="3623050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3986233"/>
            <a:ext cx="3630521" cy="1113895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lang="en-US" sz="1372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lvl="1"/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Three column photo layout (with bullets)</a:t>
            </a:r>
          </a:p>
        </p:txBody>
      </p:sp>
    </p:spTree>
    <p:extLst>
      <p:ext uri="{BB962C8B-B14F-4D97-AF65-F5344CB8AC3E}">
        <p14:creationId xmlns:p14="http://schemas.microsoft.com/office/powerpoint/2010/main" val="3068079688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138D0E-FA08-493B-A3B5-1ED81872A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071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/>
              <a:t>Six column text layou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536D72C-EFB8-4AA4-B6E9-DA9E980093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1206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C33CBA9-CFB9-46AA-8083-B5F0592E5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5987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174EC55-6C81-4FBC-A5EF-0BD1F76D45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0768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E1BEB93-4ED4-4262-A137-E9EF68ABBF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549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5067E8C-7901-4F06-A33F-B8EFCB540A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50332" y="1138746"/>
            <a:ext cx="1710367" cy="410157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lvl="1"/>
            <a:r>
              <a:rPr lang="en-US"/>
              <a:t>Body copy Segoe Regular 14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004632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658975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5982391" y="1179838"/>
            <a:ext cx="5780073" cy="3756460"/>
          </a:xfrm>
        </p:spPr>
        <p:txBody>
          <a:bodyPr anchor="ctr">
            <a:noAutofit/>
          </a:bodyPr>
          <a:lstStyle>
            <a:lvl1pPr algn="ctr">
              <a:defRPr sz="1765" b="1">
                <a:latin typeface="+mn-lt"/>
              </a:defRPr>
            </a:lvl1pPr>
          </a:lstStyle>
          <a:p>
            <a:r>
              <a:rPr lang="en-US"/>
              <a:t>Drop photo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44854"/>
            <a:ext cx="5138175" cy="2573509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49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745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  <a:p>
            <a:pPr lvl="0"/>
            <a:r>
              <a:rPr lang="pt-BR"/>
              <a:t>Subhead Segoe UI 28pt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60CBD1C-0AFE-4EB9-94D7-943981FE0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1996355998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7A4B0E3-3622-4031-99D8-5297F3444C5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78EF51-FF7D-4AF0-A0D8-5E7897E42042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EEE5920-1AA1-47AD-AA2A-1027EA1027F4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77791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360E70-26C3-491B-876D-D6CA248B1D14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AF0965-A0E8-49A1-B8BF-778086ADF37B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71CC4C2-FC7A-4AE9-9B5E-C49482524E2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9931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>
            <a:extLst>
              <a:ext uri="{FF2B5EF4-FFF2-40B4-BE49-F238E27FC236}">
                <a16:creationId xmlns:a16="http://schemas.microsoft.com/office/drawing/2014/main" id="{51E9DCD3-357B-4AF7-BDD2-18E09F714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4E73804-9B47-4D7E-8A36-A9DB54B0F2BB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E555FE-1A25-470F-9400-806E2FDA6E45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tx1"/>
                  </a:solidFill>
                </a:rPr>
                <a:t>© Microsoft Corporation</a:t>
              </a:r>
              <a:endParaRPr lang="en-US" sz="784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ADAB30E-A5BE-4BDE-8420-731E8A2CBAB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2259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FBA475-1622-4E42-8C0A-6A71410B58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489"/>
          </a:xfrm>
          <a:prstGeom prst="rect">
            <a:avLst/>
          </a:prstGeom>
        </p:spPr>
      </p:pic>
      <p:sp>
        <p:nvSpPr>
          <p:cNvPr id="5" name="Title 35">
            <a:extLst>
              <a:ext uri="{FF2B5EF4-FFF2-40B4-BE49-F238E27FC236}">
                <a16:creationId xmlns:a16="http://schemas.microsoft.com/office/drawing/2014/main" id="{8441881C-06B8-4CD2-ADC6-DFD3519E6A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5" y="1184319"/>
            <a:ext cx="7477989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b="0" kern="1200" cap="none" spc="-147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lvl="0" algn="l" defTabSz="914367" rtl="0" eaLnBrk="1" latinLnBrk="0" hangingPunct="1">
              <a:lnSpc>
                <a:spcPts val="549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74916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6678495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B5A989-B33D-A043-A074-7F6AD654A9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3200691"/>
            <a:ext cx="3146711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206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dark gray">
    <p:bg>
      <p:bgPr>
        <a:solidFill>
          <a:srgbClr val="3535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4E7C5A-6554-964E-83C8-1AB5178180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" y="3200691"/>
            <a:ext cx="3146711" cy="44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946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5838650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73475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172144"/>
            <a:ext cx="10515600" cy="89255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>
              <a:defRPr/>
            </a:pPr>
            <a:endParaRPr lang="en-US" sz="7998" kern="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1350" y="1510353"/>
            <a:ext cx="11680649" cy="5347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315303" y="1"/>
            <a:ext cx="1876697" cy="496389"/>
          </a:xfrm>
          <a:solidFill>
            <a:srgbClr val="002050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2000" b="1" kern="0" dirty="0">
                <a:solidFill>
                  <a:schemeClr val="bg1"/>
                </a:solidFill>
                <a:latin typeface="+mn-lt"/>
                <a:ea typeface="Segoe UI" panose="020B0502040204020203" pitchFamily="34" charset="0"/>
              </a:defRPr>
            </a:lvl1pPr>
          </a:lstStyle>
          <a:p>
            <a:pPr marL="0" lvl="0" algn="ctr" defTabSz="930858">
              <a:spcBef>
                <a:spcPts val="612"/>
              </a:spcBef>
            </a:pPr>
            <a:r>
              <a:rPr lang="en-US" dirty="0"/>
              <a:t>Category</a:t>
            </a:r>
          </a:p>
        </p:txBody>
      </p:sp>
    </p:spTree>
    <p:extLst>
      <p:ext uri="{BB962C8B-B14F-4D97-AF65-F5344CB8AC3E}">
        <p14:creationId xmlns:p14="http://schemas.microsoft.com/office/powerpoint/2010/main" val="257316729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1"/>
            <a:ext cx="11277599" cy="594360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D5C19BA-6DD0-2341-932F-962FA328D5D7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369353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356897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57200"/>
            <a:ext cx="11277599" cy="59436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1BB0E-11FF-4849-A437-1A08AE905469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369353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8743FE-41B9-984E-A69D-ECABFEB0E74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27732AA-D7B1-48A6-8C12-8974C5F0A104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111904" y="1866901"/>
            <a:ext cx="5622896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3475C84-786C-409E-B9CE-2261308DA6E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65152" y="1866901"/>
            <a:ext cx="5646753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5005606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12637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0456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4382466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38F91980-4640-4420-B101-C9BEC37A10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379F3-BC61-44ED-8F9B-54F8B85025ED}"/>
              </a:ext>
            </a:extLst>
          </p:cNvPr>
          <p:cNvSpPr txBox="1"/>
          <p:nvPr userDrawn="1"/>
        </p:nvSpPr>
        <p:spPr>
          <a:xfrm>
            <a:off x="586581" y="4218495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 dirty="0">
                <a:gradFill>
                  <a:gsLst>
                    <a:gs pos="80176">
                      <a:schemeClr val="tx1"/>
                    </a:gs>
                    <a:gs pos="68282">
                      <a:schemeClr val="tx1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DB113-B00E-4752-81DB-AE332342D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87" t="16931" r="33333" b="24211"/>
          <a:stretch/>
        </p:blipFill>
        <p:spPr bwMode="black">
          <a:xfrm>
            <a:off x="5098119" y="585788"/>
            <a:ext cx="7093880" cy="62722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AA312A-DD58-46FD-BCDC-F49B62DD9C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84200" y="2322537"/>
            <a:ext cx="3012187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219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itting in front of a crowd&#10;&#10;Description generated with very high confidence">
            <a:extLst>
              <a:ext uri="{FF2B5EF4-FFF2-40B4-BE49-F238E27FC236}">
                <a16:creationId xmlns:a16="http://schemas.microsoft.com/office/drawing/2014/main" id="{ADC57F9E-658E-424C-9EF1-3587089C95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583" t="10804" r="39161" b="19692"/>
          <a:stretch/>
        </p:blipFill>
        <p:spPr>
          <a:xfrm>
            <a:off x="5333998" y="0"/>
            <a:ext cx="6858001" cy="6858000"/>
          </a:xfrm>
          <a:prstGeom prst="rect">
            <a:avLst/>
          </a:prstGeom>
        </p:spPr>
      </p:pic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B802B7FF-9FAE-427A-B679-4364FE2DB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31E8BB-BB76-41F9-856D-368DE9900663}"/>
              </a:ext>
            </a:extLst>
          </p:cNvPr>
          <p:cNvSpPr txBox="1"/>
          <p:nvPr userDrawn="1"/>
        </p:nvSpPr>
        <p:spPr>
          <a:xfrm>
            <a:off x="586581" y="4219064"/>
            <a:ext cx="185146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July 18–20, 2018</a:t>
            </a:r>
          </a:p>
          <a:p>
            <a:pPr algn="l"/>
            <a:r>
              <a:rPr lang="en-US" sz="2000" dirty="0">
                <a:gradFill>
                  <a:gsLst>
                    <a:gs pos="82234">
                      <a:schemeClr val="accent2"/>
                    </a:gs>
                    <a:gs pos="68282">
                      <a:schemeClr val="accent2"/>
                    </a:gs>
                  </a:gsLst>
                  <a:lin ang="5400000" scaled="0"/>
                </a:gradFill>
              </a:rPr>
              <a:t>Las Vegas, NV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9E6D70F-8056-4653-91E4-BE7FAAFEBA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4200" y="2322537"/>
            <a:ext cx="3012188" cy="152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37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76BBF407-647E-4A0E-932C-4B9EBA6AC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08988" y="589607"/>
            <a:ext cx="3200400" cy="457200"/>
          </a:xfrm>
        </p:spPr>
        <p:txBody>
          <a:bodyPr lIns="0" tIns="0" rIns="0" bIns="0"/>
          <a:lstStyle>
            <a:lvl1pPr marL="0" indent="0" algn="r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F4DDC873-B78F-4A52-9091-6AB1225F4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10" name="TextBox 7">
            <a:extLst>
              <a:ext uri="{FF2B5EF4-FFF2-40B4-BE49-F238E27FC236}">
                <a16:creationId xmlns:a16="http://schemas.microsoft.com/office/drawing/2014/main" id="{159B70CA-162C-4108-ACA6-CEEA047F6AE6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53935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F9C77CE-6642-4EB3-964C-4757236312B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2404341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F799E92C-66C0-42AC-B537-87624873AE0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748409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43FF8C8-7F5A-4421-9447-1B05BF103B20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440151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779611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7A7BB0F-782C-4D9F-9090-0EA61980C6A3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743672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19AF4754-F11E-4E8F-BBFA-9E489F861B0D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0328192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A4A6C387-0A1F-4F01-A189-777EA61C60E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525203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2616517D-D5CD-4ABF-BB07-27B705B1ED45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239939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FA53395-9C25-4CB2-B341-C4A926CEFC07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88716432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E89C1FB2-6B75-46E5-9AA1-5BE3945FCA2E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281206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FE5F5BCB-2E29-4CD6-911A-DE5C1CED1D5F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5511213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E4895D9-8662-4A4F-98D4-0B8BC8B959B8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1198462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12648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12648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7066C-5133-4E22-AE58-F2101DA24D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6" name="TextBox 7">
            <a:extLst>
              <a:ext uri="{FF2B5EF4-FFF2-40B4-BE49-F238E27FC236}">
                <a16:creationId xmlns:a16="http://schemas.microsoft.com/office/drawing/2014/main" id="{64E1D9FA-9E2F-48CB-9D5D-F452A17FA04F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55465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126480" cy="498598"/>
          </a:xfrm>
          <a:noFill/>
        </p:spPr>
        <p:txBody>
          <a:bodyPr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C853EF-249B-4DEC-B679-038CCEA0B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16931" r="33333" b="24211"/>
          <a:stretch/>
        </p:blipFill>
        <p:spPr bwMode="invGray">
          <a:xfrm>
            <a:off x="5098119" y="585788"/>
            <a:ext cx="7093880" cy="6272211"/>
          </a:xfrm>
          <a:prstGeom prst="rect">
            <a:avLst/>
          </a:prstGeom>
        </p:spPr>
      </p:pic>
      <p:sp>
        <p:nvSpPr>
          <p:cNvPr id="4" name="TextBox 7">
            <a:extLst>
              <a:ext uri="{FF2B5EF4-FFF2-40B4-BE49-F238E27FC236}">
                <a16:creationId xmlns:a16="http://schemas.microsoft.com/office/drawing/2014/main" id="{E2C2C8D7-61A8-4984-AFD4-35DE8D9F804B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74550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272248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42124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6A51A04-EF84-4B1B-9E21-8F15035DF979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96132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540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5951E567-86DB-49D9-87EB-08DE2B1BC6D1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70257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2EF3E351-722F-45A0-BD85-698E055B98F1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5414574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2C852AFA-BC02-44DE-94C3-845604AD057E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89493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ity sl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D07666-5C5E-4C40-8C68-86D1F3CAB0C5}"/>
              </a:ext>
            </a:extLst>
          </p:cNvPr>
          <p:cNvSpPr txBox="1"/>
          <p:nvPr userDrawn="1"/>
        </p:nvSpPr>
        <p:spPr>
          <a:xfrm>
            <a:off x="584200" y="4173080"/>
            <a:ext cx="11022584" cy="2095958"/>
          </a:xfrm>
          <a:prstGeom prst="rect">
            <a:avLst/>
          </a:prstGeom>
          <a:noFill/>
        </p:spPr>
        <p:txBody>
          <a:bodyPr wrap="square" lIns="182880" tIns="146304" rIns="182880" bIns="146304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Ready content is </a:t>
            </a: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icrosoft Confidential – Internal only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Microsoft Ready content to any blogs or external websites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kern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O NOT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ke photos or video of sessions or slides throughout the Microsoft Ready event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tent will be available to internal audiences on-demand post-even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B1A30E-72AA-4A8F-A97F-FD4B4989FC97}"/>
              </a:ext>
            </a:extLst>
          </p:cNvPr>
          <p:cNvSpPr/>
          <p:nvPr userDrawn="1"/>
        </p:nvSpPr>
        <p:spPr bwMode="gray">
          <a:xfrm>
            <a:off x="2697102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6F400F5-9FA0-4CE6-B207-5F2FF50C7927}"/>
              </a:ext>
            </a:extLst>
          </p:cNvPr>
          <p:cNvSpPr/>
          <p:nvPr userDrawn="1"/>
        </p:nvSpPr>
        <p:spPr bwMode="gray">
          <a:xfrm>
            <a:off x="5318069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A797159-0B2F-4995-81D8-EBFFD05AB617}"/>
              </a:ext>
            </a:extLst>
          </p:cNvPr>
          <p:cNvGrpSpPr/>
          <p:nvPr userDrawn="1"/>
        </p:nvGrpSpPr>
        <p:grpSpPr bwMode="gray">
          <a:xfrm flipH="1">
            <a:off x="5901486" y="2178437"/>
            <a:ext cx="436044" cy="827404"/>
            <a:chOff x="5200650" y="1722438"/>
            <a:chExt cx="1797050" cy="3409950"/>
          </a:xfrm>
        </p:grpSpPr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D5EE552A-CFE9-4D35-BDE3-A939AA559C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0650" y="1722438"/>
              <a:ext cx="1797050" cy="3409950"/>
            </a:xfrm>
            <a:custGeom>
              <a:avLst/>
              <a:gdLst>
                <a:gd name="T0" fmla="*/ 497 w 543"/>
                <a:gd name="T1" fmla="*/ 0 h 1030"/>
                <a:gd name="T2" fmla="*/ 46 w 543"/>
                <a:gd name="T3" fmla="*/ 0 h 1030"/>
                <a:gd name="T4" fmla="*/ 0 w 543"/>
                <a:gd name="T5" fmla="*/ 46 h 1030"/>
                <a:gd name="T6" fmla="*/ 0 w 543"/>
                <a:gd name="T7" fmla="*/ 983 h 1030"/>
                <a:gd name="T8" fmla="*/ 46 w 543"/>
                <a:gd name="T9" fmla="*/ 1030 h 1030"/>
                <a:gd name="T10" fmla="*/ 497 w 543"/>
                <a:gd name="T11" fmla="*/ 1030 h 1030"/>
                <a:gd name="T12" fmla="*/ 543 w 543"/>
                <a:gd name="T13" fmla="*/ 983 h 1030"/>
                <a:gd name="T14" fmla="*/ 543 w 543"/>
                <a:gd name="T15" fmla="*/ 46 h 1030"/>
                <a:gd name="T16" fmla="*/ 497 w 543"/>
                <a:gd name="T17" fmla="*/ 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3" h="1030">
                  <a:moveTo>
                    <a:pt x="497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0" y="1009"/>
                    <a:pt x="21" y="1030"/>
                    <a:pt x="46" y="1030"/>
                  </a:cubicBezTo>
                  <a:cubicBezTo>
                    <a:pt x="497" y="1030"/>
                    <a:pt x="497" y="1030"/>
                    <a:pt x="497" y="1030"/>
                  </a:cubicBezTo>
                  <a:cubicBezTo>
                    <a:pt x="522" y="1030"/>
                    <a:pt x="543" y="1009"/>
                    <a:pt x="543" y="983"/>
                  </a:cubicBezTo>
                  <a:cubicBezTo>
                    <a:pt x="543" y="46"/>
                    <a:pt x="543" y="46"/>
                    <a:pt x="543" y="46"/>
                  </a:cubicBezTo>
                  <a:cubicBezTo>
                    <a:pt x="543" y="21"/>
                    <a:pt x="522" y="0"/>
                    <a:pt x="497" y="0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62561F91-9D8C-4635-B806-AE2D1119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310188" y="2262188"/>
              <a:ext cx="1577975" cy="2433638"/>
            </a:xfrm>
            <a:custGeom>
              <a:avLst/>
              <a:gdLst>
                <a:gd name="T0" fmla="*/ 0 w 994"/>
                <a:gd name="T1" fmla="*/ 1533 h 1533"/>
                <a:gd name="T2" fmla="*/ 994 w 994"/>
                <a:gd name="T3" fmla="*/ 1533 h 1533"/>
                <a:gd name="T4" fmla="*/ 994 w 994"/>
                <a:gd name="T5" fmla="*/ 62 h 1533"/>
                <a:gd name="T6" fmla="*/ 498 w 994"/>
                <a:gd name="T7" fmla="*/ 0 h 1533"/>
                <a:gd name="T8" fmla="*/ 0 w 994"/>
                <a:gd name="T9" fmla="*/ 62 h 1533"/>
                <a:gd name="T10" fmla="*/ 0 w 994"/>
                <a:gd name="T11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4" h="1533">
                  <a:moveTo>
                    <a:pt x="0" y="1533"/>
                  </a:moveTo>
                  <a:lnTo>
                    <a:pt x="994" y="1533"/>
                  </a:lnTo>
                  <a:lnTo>
                    <a:pt x="994" y="62"/>
                  </a:lnTo>
                  <a:lnTo>
                    <a:pt x="498" y="0"/>
                  </a:lnTo>
                  <a:lnTo>
                    <a:pt x="0" y="62"/>
                  </a:lnTo>
                  <a:lnTo>
                    <a:pt x="0" y="1533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Rectangle 28">
              <a:extLst>
                <a:ext uri="{FF2B5EF4-FFF2-40B4-BE49-F238E27FC236}">
                  <a16:creationId xmlns:a16="http://schemas.microsoft.com/office/drawing/2014/main" id="{71C38A4E-A7CA-4FC4-B76A-394814BBAD3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310188" y="2006601"/>
              <a:ext cx="1577975" cy="3540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08" name="Rectangle 29">
              <a:extLst>
                <a:ext uri="{FF2B5EF4-FFF2-40B4-BE49-F238E27FC236}">
                  <a16:creationId xmlns:a16="http://schemas.microsoft.com/office/drawing/2014/main" id="{0EB3CFB9-1B4F-40C4-8527-07696A24C4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42013" y="3522663"/>
              <a:ext cx="804863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Rectangle 30">
              <a:extLst>
                <a:ext uri="{FF2B5EF4-FFF2-40B4-BE49-F238E27FC236}">
                  <a16:creationId xmlns:a16="http://schemas.microsoft.com/office/drawing/2014/main" id="{A6E51830-661E-42FF-A82A-D30745B76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689351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31">
              <a:extLst>
                <a:ext uri="{FF2B5EF4-FFF2-40B4-BE49-F238E27FC236}">
                  <a16:creationId xmlns:a16="http://schemas.microsoft.com/office/drawing/2014/main" id="{95201EB4-D463-4472-9390-C70DD9F565C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3851276"/>
              <a:ext cx="1327150" cy="396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32">
              <a:extLst>
                <a:ext uri="{FF2B5EF4-FFF2-40B4-BE49-F238E27FC236}">
                  <a16:creationId xmlns:a16="http://schemas.microsoft.com/office/drawing/2014/main" id="{B130CDDD-D0C4-4E72-B76C-DB98452382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013201"/>
              <a:ext cx="730250" cy="428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33">
              <a:extLst>
                <a:ext uri="{FF2B5EF4-FFF2-40B4-BE49-F238E27FC236}">
                  <a16:creationId xmlns:a16="http://schemas.microsoft.com/office/drawing/2014/main" id="{65FB6058-8B32-4371-95BE-A2B310C6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19725" y="4178301"/>
              <a:ext cx="132715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34">
              <a:extLst>
                <a:ext uri="{FF2B5EF4-FFF2-40B4-BE49-F238E27FC236}">
                  <a16:creationId xmlns:a16="http://schemas.microsoft.com/office/drawing/2014/main" id="{FB2303C7-0661-4CF0-B491-D2E9D47EE1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49975" y="4341813"/>
              <a:ext cx="596900" cy="3651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Rectangle 35">
              <a:extLst>
                <a:ext uri="{FF2B5EF4-FFF2-40B4-BE49-F238E27FC236}">
                  <a16:creationId xmlns:a16="http://schemas.microsoft.com/office/drawing/2014/main" id="{C3FA6748-9371-4617-9A5E-AEF6112AB5D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932488" y="2509838"/>
              <a:ext cx="836613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5" name="Rectangle 36">
              <a:extLst>
                <a:ext uri="{FF2B5EF4-FFF2-40B4-BE49-F238E27FC236}">
                  <a16:creationId xmlns:a16="http://schemas.microsoft.com/office/drawing/2014/main" id="{22819134-DC28-4E40-9A2C-B052D6FE6E7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509838"/>
              <a:ext cx="171450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6" name="Rectangle 37">
              <a:extLst>
                <a:ext uri="{FF2B5EF4-FFF2-40B4-BE49-F238E27FC236}">
                  <a16:creationId xmlns:a16="http://schemas.microsoft.com/office/drawing/2014/main" id="{A8AB1BAE-A549-4C2D-90AE-29E7A84F30C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80075" y="2509838"/>
              <a:ext cx="173038" cy="49213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17" name="Rectangle 38">
              <a:extLst>
                <a:ext uri="{FF2B5EF4-FFF2-40B4-BE49-F238E27FC236}">
                  <a16:creationId xmlns:a16="http://schemas.microsoft.com/office/drawing/2014/main" id="{6BB21AAD-BEBD-464D-9425-DFCE1A81021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25663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9">
              <a:extLst>
                <a:ext uri="{FF2B5EF4-FFF2-40B4-BE49-F238E27FC236}">
                  <a16:creationId xmlns:a16="http://schemas.microsoft.com/office/drawing/2014/main" id="{82C133A5-90DA-4452-B1C2-96A28D1B3B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168526"/>
              <a:ext cx="1524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40">
              <a:extLst>
                <a:ext uri="{FF2B5EF4-FFF2-40B4-BE49-F238E27FC236}">
                  <a16:creationId xmlns:a16="http://schemas.microsoft.com/office/drawing/2014/main" id="{9EC959C0-2ED1-429D-9343-6B03D72EC2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0038" y="2216151"/>
              <a:ext cx="152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41">
              <a:extLst>
                <a:ext uri="{FF2B5EF4-FFF2-40B4-BE49-F238E27FC236}">
                  <a16:creationId xmlns:a16="http://schemas.microsoft.com/office/drawing/2014/main" id="{27EB350B-78EC-4CE4-9803-6981B8ABF25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27738" y="4837113"/>
              <a:ext cx="142875" cy="1460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E19CD1BB-BAEF-4D84-8870-955840A2D7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3263" y="1841501"/>
              <a:ext cx="631825" cy="36513"/>
            </a:xfrm>
            <a:custGeom>
              <a:avLst/>
              <a:gdLst>
                <a:gd name="T0" fmla="*/ 185 w 191"/>
                <a:gd name="T1" fmla="*/ 11 h 11"/>
                <a:gd name="T2" fmla="*/ 6 w 191"/>
                <a:gd name="T3" fmla="*/ 11 h 11"/>
                <a:gd name="T4" fmla="*/ 0 w 191"/>
                <a:gd name="T5" fmla="*/ 6 h 11"/>
                <a:gd name="T6" fmla="*/ 6 w 191"/>
                <a:gd name="T7" fmla="*/ 0 h 11"/>
                <a:gd name="T8" fmla="*/ 185 w 191"/>
                <a:gd name="T9" fmla="*/ 0 h 11"/>
                <a:gd name="T10" fmla="*/ 191 w 191"/>
                <a:gd name="T11" fmla="*/ 6 h 11"/>
                <a:gd name="T12" fmla="*/ 185 w 19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1">
                  <a:moveTo>
                    <a:pt x="185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9" y="0"/>
                    <a:pt x="191" y="2"/>
                    <a:pt x="191" y="6"/>
                  </a:cubicBezTo>
                  <a:cubicBezTo>
                    <a:pt x="191" y="9"/>
                    <a:pt x="189" y="11"/>
                    <a:pt x="185" y="11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 43">
              <a:extLst>
                <a:ext uri="{FF2B5EF4-FFF2-40B4-BE49-F238E27FC236}">
                  <a16:creationId xmlns:a16="http://schemas.microsoft.com/office/drawing/2014/main" id="{AB3A5491-F398-47CB-BBBC-35E96F4E41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29250" y="2722563"/>
              <a:ext cx="1339850" cy="62865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</p:grpSp>
      <p:sp>
        <p:nvSpPr>
          <p:cNvPr id="149" name="Oval 148">
            <a:extLst>
              <a:ext uri="{FF2B5EF4-FFF2-40B4-BE49-F238E27FC236}">
                <a16:creationId xmlns:a16="http://schemas.microsoft.com/office/drawing/2014/main" id="{88B05F2C-2F66-43AA-A9E2-803B1F843606}"/>
              </a:ext>
            </a:extLst>
          </p:cNvPr>
          <p:cNvSpPr/>
          <p:nvPr userDrawn="1"/>
        </p:nvSpPr>
        <p:spPr bwMode="gray">
          <a:xfrm>
            <a:off x="7892021" y="1790700"/>
            <a:ext cx="1602879" cy="1602878"/>
          </a:xfrm>
          <a:prstGeom prst="ellipse">
            <a:avLst/>
          </a:prstGeom>
          <a:solidFill>
            <a:srgbClr val="232323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35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marR="0" lvl="0" indent="0" algn="ctr" defTabSz="9321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E88D9ECD-A4C6-4CFD-BE83-83D944C0F97B}"/>
              </a:ext>
            </a:extLst>
          </p:cNvPr>
          <p:cNvGrpSpPr/>
          <p:nvPr userDrawn="1"/>
        </p:nvGrpSpPr>
        <p:grpSpPr bwMode="gray">
          <a:xfrm>
            <a:off x="8118306" y="2286842"/>
            <a:ext cx="1150309" cy="610594"/>
            <a:chOff x="6151563" y="1584325"/>
            <a:chExt cx="4276725" cy="2270126"/>
          </a:xfrm>
        </p:grpSpPr>
        <p:sp>
          <p:nvSpPr>
            <p:cNvPr id="129" name="Rectangle 47">
              <a:extLst>
                <a:ext uri="{FF2B5EF4-FFF2-40B4-BE49-F238E27FC236}">
                  <a16:creationId xmlns:a16="http://schemas.microsoft.com/office/drawing/2014/main" id="{26C055B8-93FF-46DA-B415-D8D54497176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30988" y="1584325"/>
              <a:ext cx="3317875" cy="208438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8">
              <a:extLst>
                <a:ext uri="{FF2B5EF4-FFF2-40B4-BE49-F238E27FC236}">
                  <a16:creationId xmlns:a16="http://schemas.microsoft.com/office/drawing/2014/main" id="{CFE4BDC0-DE0F-4728-875B-177D4395AAE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48476" y="1785938"/>
              <a:ext cx="2879725" cy="17637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DF9925D4-DE10-40F0-8BA3-16B00AE6C4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1563" y="3668713"/>
              <a:ext cx="4276725" cy="185738"/>
            </a:xfrm>
            <a:custGeom>
              <a:avLst/>
              <a:gdLst>
                <a:gd name="T0" fmla="*/ 1265 w 1295"/>
                <a:gd name="T1" fmla="*/ 56 h 56"/>
                <a:gd name="T2" fmla="*/ 29 w 1295"/>
                <a:gd name="T3" fmla="*/ 56 h 56"/>
                <a:gd name="T4" fmla="*/ 0 w 1295"/>
                <a:gd name="T5" fmla="*/ 26 h 56"/>
                <a:gd name="T6" fmla="*/ 0 w 1295"/>
                <a:gd name="T7" fmla="*/ 0 h 56"/>
                <a:gd name="T8" fmla="*/ 1295 w 1295"/>
                <a:gd name="T9" fmla="*/ 0 h 56"/>
                <a:gd name="T10" fmla="*/ 1295 w 1295"/>
                <a:gd name="T11" fmla="*/ 26 h 56"/>
                <a:gd name="T12" fmla="*/ 1265 w 1295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5" h="56">
                  <a:moveTo>
                    <a:pt x="1265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13" y="56"/>
                    <a:pt x="0" y="43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5" y="0"/>
                    <a:pt x="1295" y="0"/>
                    <a:pt x="1295" y="0"/>
                  </a:cubicBezTo>
                  <a:cubicBezTo>
                    <a:pt x="1295" y="26"/>
                    <a:pt x="1295" y="26"/>
                    <a:pt x="1295" y="26"/>
                  </a:cubicBezTo>
                  <a:cubicBezTo>
                    <a:pt x="1295" y="43"/>
                    <a:pt x="1282" y="56"/>
                    <a:pt x="1265" y="5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2" name="Rectangle 50">
              <a:extLst>
                <a:ext uri="{FF2B5EF4-FFF2-40B4-BE49-F238E27FC236}">
                  <a16:creationId xmlns:a16="http://schemas.microsoft.com/office/drawing/2014/main" id="{E95E9909-20A7-4A13-8FBC-BB76A4AAD52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53301" y="2098675"/>
              <a:ext cx="865188" cy="3302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3" name="Rectangle 51">
              <a:extLst>
                <a:ext uri="{FF2B5EF4-FFF2-40B4-BE49-F238E27FC236}">
                  <a16:creationId xmlns:a16="http://schemas.microsoft.com/office/drawing/2014/main" id="{2FD4C439-4658-45FA-AB12-5252FC20915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098675"/>
              <a:ext cx="266700" cy="330200"/>
            </a:xfrm>
            <a:prstGeom prst="rect">
              <a:avLst/>
            </a:prstGeom>
            <a:solidFill>
              <a:schemeClr val="bg1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4" name="Rectangle 52">
              <a:extLst>
                <a:ext uri="{FF2B5EF4-FFF2-40B4-BE49-F238E27FC236}">
                  <a16:creationId xmlns:a16="http://schemas.microsoft.com/office/drawing/2014/main" id="{D9CFF0E1-0AE6-43B7-BC45-CB587EB544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559050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5" name="Rectangle 53">
              <a:extLst>
                <a:ext uri="{FF2B5EF4-FFF2-40B4-BE49-F238E27FC236}">
                  <a16:creationId xmlns:a16="http://schemas.microsoft.com/office/drawing/2014/main" id="{E57A2468-B3CA-4D73-B693-76A85B0F76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744788"/>
              <a:ext cx="1131888" cy="101600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6" name="Rectangle 54">
              <a:extLst>
                <a:ext uri="{FF2B5EF4-FFF2-40B4-BE49-F238E27FC236}">
                  <a16:creationId xmlns:a16="http://schemas.microsoft.com/office/drawing/2014/main" id="{590B34AA-176F-4A9B-8492-C9062CEEB0A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2925763"/>
              <a:ext cx="1131888" cy="106363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7" name="Rectangle 55">
              <a:extLst>
                <a:ext uri="{FF2B5EF4-FFF2-40B4-BE49-F238E27FC236}">
                  <a16:creationId xmlns:a16="http://schemas.microsoft.com/office/drawing/2014/main" id="{B478D54E-B6DE-4ACF-B271-59436F9D78D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111500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8" name="Rectangle 56">
              <a:extLst>
                <a:ext uri="{FF2B5EF4-FFF2-40B4-BE49-F238E27FC236}">
                  <a16:creationId xmlns:a16="http://schemas.microsoft.com/office/drawing/2014/main" id="{10E94144-47B6-4CC4-8ACA-8555C206329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086601" y="3297238"/>
              <a:ext cx="1131888" cy="103188"/>
            </a:xfrm>
            <a:prstGeom prst="rect">
              <a:avLst/>
            </a:pr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lvl="0"/>
              <a:endParaRPr lang="en-US"/>
            </a:p>
          </p:txBody>
        </p:sp>
        <p:sp>
          <p:nvSpPr>
            <p:cNvPr id="139" name="Rectangle 57">
              <a:extLst>
                <a:ext uri="{FF2B5EF4-FFF2-40B4-BE49-F238E27FC236}">
                  <a16:creationId xmlns:a16="http://schemas.microsoft.com/office/drawing/2014/main" id="{884B7082-B3DA-41C6-888E-340C61D061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58">
              <a:extLst>
                <a:ext uri="{FF2B5EF4-FFF2-40B4-BE49-F238E27FC236}">
                  <a16:creationId xmlns:a16="http://schemas.microsoft.com/office/drawing/2014/main" id="{EAB98FDB-F070-4FD8-8674-449941060C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098675"/>
              <a:ext cx="312738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59">
              <a:extLst>
                <a:ext uri="{FF2B5EF4-FFF2-40B4-BE49-F238E27FC236}">
                  <a16:creationId xmlns:a16="http://schemas.microsoft.com/office/drawing/2014/main" id="{B045539F-5CE5-47A9-A17E-1643D4CD9B2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098675"/>
              <a:ext cx="314325" cy="336550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60">
              <a:extLst>
                <a:ext uri="{FF2B5EF4-FFF2-40B4-BE49-F238E27FC236}">
                  <a16:creationId xmlns:a16="http://schemas.microsoft.com/office/drawing/2014/main" id="{C0C7BB4D-3B48-4D4F-B494-4C1EE0FD7C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61">
              <a:extLst>
                <a:ext uri="{FF2B5EF4-FFF2-40B4-BE49-F238E27FC236}">
                  <a16:creationId xmlns:a16="http://schemas.microsoft.com/office/drawing/2014/main" id="{0BFA0E04-B61F-491E-8CEE-2821324787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2581275"/>
              <a:ext cx="312738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62">
              <a:extLst>
                <a:ext uri="{FF2B5EF4-FFF2-40B4-BE49-F238E27FC236}">
                  <a16:creationId xmlns:a16="http://schemas.microsoft.com/office/drawing/2014/main" id="{AFB42A0A-BD91-43E7-988D-573EEC53456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2581275"/>
              <a:ext cx="314325" cy="334963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63">
              <a:extLst>
                <a:ext uri="{FF2B5EF4-FFF2-40B4-BE49-F238E27FC236}">
                  <a16:creationId xmlns:a16="http://schemas.microsoft.com/office/drawing/2014/main" id="{BA15039E-DBE6-4F6E-80B1-70B510D54B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7551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64">
              <a:extLst>
                <a:ext uri="{FF2B5EF4-FFF2-40B4-BE49-F238E27FC236}">
                  <a16:creationId xmlns:a16="http://schemas.microsoft.com/office/drawing/2014/main" id="{265A4B65-72CE-4B68-9D58-5199411F4C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764588" y="3062288"/>
              <a:ext cx="312738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65">
              <a:extLst>
                <a:ext uri="{FF2B5EF4-FFF2-40B4-BE49-F238E27FC236}">
                  <a16:creationId xmlns:a16="http://schemas.microsoft.com/office/drawing/2014/main" id="{9602881A-C071-4CA3-9947-55E1E8A8C5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93213" y="3062288"/>
              <a:ext cx="314325" cy="338138"/>
            </a:xfrm>
            <a:prstGeom prst="rect">
              <a:avLst/>
            </a:pr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5" name="Multiplication Sign 204">
            <a:extLst>
              <a:ext uri="{FF2B5EF4-FFF2-40B4-BE49-F238E27FC236}">
                <a16:creationId xmlns:a16="http://schemas.microsoft.com/office/drawing/2014/main" id="{464A0F58-5D65-499E-8280-34A9DFF27F4A}"/>
              </a:ext>
            </a:extLst>
          </p:cNvPr>
          <p:cNvSpPr/>
          <p:nvPr userDrawn="1"/>
        </p:nvSpPr>
        <p:spPr bwMode="ltGray">
          <a:xfrm>
            <a:off x="3643244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Multiplication Sign 210">
            <a:extLst>
              <a:ext uri="{FF2B5EF4-FFF2-40B4-BE49-F238E27FC236}">
                <a16:creationId xmlns:a16="http://schemas.microsoft.com/office/drawing/2014/main" id="{69338860-60E4-44A3-B6C1-0BC1315BA942}"/>
              </a:ext>
            </a:extLst>
          </p:cNvPr>
          <p:cNvSpPr/>
          <p:nvPr userDrawn="1"/>
        </p:nvSpPr>
        <p:spPr bwMode="ltGray">
          <a:xfrm>
            <a:off x="6271892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4" name="Multiplication Sign 213">
            <a:extLst>
              <a:ext uri="{FF2B5EF4-FFF2-40B4-BE49-F238E27FC236}">
                <a16:creationId xmlns:a16="http://schemas.microsoft.com/office/drawing/2014/main" id="{DFD379AB-2220-4E7F-85FE-EBBE910DB5C2}"/>
              </a:ext>
            </a:extLst>
          </p:cNvPr>
          <p:cNvSpPr/>
          <p:nvPr userDrawn="1"/>
        </p:nvSpPr>
        <p:spPr bwMode="ltGray">
          <a:xfrm>
            <a:off x="8826629" y="2831053"/>
            <a:ext cx="715234" cy="715230"/>
          </a:xfrm>
          <a:prstGeom prst="mathMultiply">
            <a:avLst>
              <a:gd name="adj1" fmla="val 16854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71C9C6-D4A9-4DFA-9E2D-9E501DB092DC}"/>
              </a:ext>
            </a:extLst>
          </p:cNvPr>
          <p:cNvGrpSpPr/>
          <p:nvPr userDrawn="1"/>
        </p:nvGrpSpPr>
        <p:grpSpPr bwMode="gray">
          <a:xfrm>
            <a:off x="3132278" y="2298246"/>
            <a:ext cx="718204" cy="544549"/>
            <a:chOff x="3132278" y="2298246"/>
            <a:chExt cx="718204" cy="544549"/>
          </a:xfrm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9123BC5-D4FA-46FE-A2AC-4D6533EA9AB2}"/>
                </a:ext>
              </a:extLst>
            </p:cNvPr>
            <p:cNvSpPr/>
            <p:nvPr/>
          </p:nvSpPr>
          <p:spPr bwMode="gray">
            <a:xfrm>
              <a:off x="3194451" y="2298246"/>
              <a:ext cx="107195" cy="171511"/>
            </a:xfrm>
            <a:custGeom>
              <a:avLst/>
              <a:gdLst/>
              <a:ahLst/>
              <a:cxnLst/>
              <a:rect l="0" t="0" r="0" b="0"/>
              <a:pathLst>
                <a:path w="95250" h="152400">
                  <a:moveTo>
                    <a:pt x="81439" y="147161"/>
                  </a:moveTo>
                  <a:lnTo>
                    <a:pt x="20479" y="147161"/>
                  </a:lnTo>
                  <a:cubicBezTo>
                    <a:pt x="13811" y="147161"/>
                    <a:pt x="7144" y="141446"/>
                    <a:pt x="7144" y="133826"/>
                  </a:cubicBezTo>
                  <a:lnTo>
                    <a:pt x="7144" y="19526"/>
                  </a:lnTo>
                  <a:cubicBezTo>
                    <a:pt x="7144" y="12859"/>
                    <a:pt x="12859" y="7144"/>
                    <a:pt x="20479" y="7144"/>
                  </a:cubicBezTo>
                  <a:lnTo>
                    <a:pt x="81439" y="7144"/>
                  </a:lnTo>
                  <a:cubicBezTo>
                    <a:pt x="88106" y="7144"/>
                    <a:pt x="94774" y="12859"/>
                    <a:pt x="94774" y="20479"/>
                  </a:cubicBezTo>
                  <a:lnTo>
                    <a:pt x="94774" y="134779"/>
                  </a:lnTo>
                  <a:cubicBezTo>
                    <a:pt x="94774" y="141446"/>
                    <a:pt x="88106" y="147161"/>
                    <a:pt x="81439" y="1471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711D87E-2859-4301-A153-9C62DB528E0B}"/>
                </a:ext>
              </a:extLst>
            </p:cNvPr>
            <p:cNvSpPr/>
            <p:nvPr/>
          </p:nvSpPr>
          <p:spPr bwMode="gray">
            <a:xfrm>
              <a:off x="3293070" y="2417233"/>
              <a:ext cx="557412" cy="407339"/>
            </a:xfrm>
            <a:custGeom>
              <a:avLst/>
              <a:gdLst/>
              <a:ahLst/>
              <a:cxnLst/>
              <a:rect l="0" t="0" r="0" b="0"/>
              <a:pathLst>
                <a:path w="495300" h="361950">
                  <a:moveTo>
                    <a:pt x="488156" y="31909"/>
                  </a:moveTo>
                  <a:lnTo>
                    <a:pt x="439579" y="7144"/>
                  </a:lnTo>
                  <a:lnTo>
                    <a:pt x="7144" y="7144"/>
                  </a:lnTo>
                  <a:lnTo>
                    <a:pt x="7144" y="356711"/>
                  </a:lnTo>
                  <a:lnTo>
                    <a:pt x="433864" y="356711"/>
                  </a:lnTo>
                  <a:lnTo>
                    <a:pt x="488156" y="32813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4F64010-C37F-4B0B-8C4B-E5CD5398E636}"/>
                </a:ext>
              </a:extLst>
            </p:cNvPr>
            <p:cNvSpPr/>
            <p:nvPr/>
          </p:nvSpPr>
          <p:spPr bwMode="gray">
            <a:xfrm>
              <a:off x="3293070" y="2392577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488156" y="53816"/>
                  </a:moveTo>
                  <a:lnTo>
                    <a:pt x="488156" y="49054"/>
                  </a:lnTo>
                  <a:cubicBezTo>
                    <a:pt x="488156" y="26194"/>
                    <a:pt x="469106" y="7144"/>
                    <a:pt x="446246" y="7144"/>
                  </a:cubicBezTo>
                  <a:lnTo>
                    <a:pt x="7144" y="7144"/>
                  </a:lnTo>
                  <a:lnTo>
                    <a:pt x="7144" y="53816"/>
                  </a:lnTo>
                  <a:lnTo>
                    <a:pt x="488156" y="5381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5111A6-FF13-4B86-9A02-4968F86EFDFC}"/>
                </a:ext>
              </a:extLst>
            </p:cNvPr>
            <p:cNvSpPr/>
            <p:nvPr/>
          </p:nvSpPr>
          <p:spPr bwMode="gray">
            <a:xfrm>
              <a:off x="3293070" y="2778478"/>
              <a:ext cx="557412" cy="64317"/>
            </a:xfrm>
            <a:custGeom>
              <a:avLst/>
              <a:gdLst/>
              <a:ahLst/>
              <a:cxnLst/>
              <a:rect l="0" t="0" r="0" b="0"/>
              <a:pathLst>
                <a:path w="495300" h="57150">
                  <a:moveTo>
                    <a:pt x="7144" y="7144"/>
                  </a:moveTo>
                  <a:lnTo>
                    <a:pt x="7144" y="57626"/>
                  </a:lnTo>
                  <a:lnTo>
                    <a:pt x="446246" y="57626"/>
                  </a:lnTo>
                  <a:cubicBezTo>
                    <a:pt x="469106" y="57626"/>
                    <a:pt x="488156" y="38576"/>
                    <a:pt x="488156" y="15716"/>
                  </a:cubicBezTo>
                  <a:lnTo>
                    <a:pt x="488156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46C1B4E-7932-4411-ADEE-738D4EB9AB4F}"/>
                </a:ext>
              </a:extLst>
            </p:cNvPr>
            <p:cNvSpPr/>
            <p:nvPr/>
          </p:nvSpPr>
          <p:spPr bwMode="gray">
            <a:xfrm>
              <a:off x="3132278" y="2346484"/>
              <a:ext cx="235828" cy="482376"/>
            </a:xfrm>
            <a:custGeom>
              <a:avLst/>
              <a:gdLst/>
              <a:ahLst/>
              <a:cxnLst/>
              <a:rect l="0" t="0" r="0" b="0"/>
              <a:pathLst>
                <a:path w="209550" h="428625">
                  <a:moveTo>
                    <a:pt x="205264" y="391001"/>
                  </a:moveTo>
                  <a:lnTo>
                    <a:pt x="109061" y="428149"/>
                  </a:lnTo>
                  <a:lnTo>
                    <a:pt x="7144" y="391001"/>
                  </a:lnTo>
                  <a:lnTo>
                    <a:pt x="7144" y="48101"/>
                  </a:lnTo>
                  <a:lnTo>
                    <a:pt x="106204" y="7144"/>
                  </a:lnTo>
                  <a:lnTo>
                    <a:pt x="205264" y="48101"/>
                  </a:ln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03E67C2-61A7-4327-B9AE-EB39024D08C9}"/>
                </a:ext>
              </a:extLst>
            </p:cNvPr>
            <p:cNvSpPr/>
            <p:nvPr/>
          </p:nvSpPr>
          <p:spPr bwMode="gray">
            <a:xfrm>
              <a:off x="3132278" y="2327189"/>
              <a:ext cx="235828" cy="75036"/>
            </a:xfrm>
            <a:custGeom>
              <a:avLst/>
              <a:gdLst/>
              <a:ahLst/>
              <a:cxnLst/>
              <a:rect l="0" t="0" r="0" b="0"/>
              <a:pathLst>
                <a:path w="209550" h="66675">
                  <a:moveTo>
                    <a:pt x="205264" y="65246"/>
                  </a:moveTo>
                  <a:lnTo>
                    <a:pt x="205264" y="44291"/>
                  </a:lnTo>
                  <a:cubicBezTo>
                    <a:pt x="205264" y="23336"/>
                    <a:pt x="188119" y="7144"/>
                    <a:pt x="168116" y="7144"/>
                  </a:cubicBezTo>
                  <a:lnTo>
                    <a:pt x="44291" y="7144"/>
                  </a:lnTo>
                  <a:cubicBezTo>
                    <a:pt x="24289" y="7144"/>
                    <a:pt x="7144" y="24289"/>
                    <a:pt x="7144" y="44291"/>
                  </a:cubicBezTo>
                  <a:lnTo>
                    <a:pt x="7144" y="65246"/>
                  </a:lnTo>
                  <a:lnTo>
                    <a:pt x="205264" y="65246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D3A9CA2-5D0F-4251-A1DB-C27B4C28C03D}"/>
                </a:ext>
              </a:extLst>
            </p:cNvPr>
            <p:cNvSpPr/>
            <p:nvPr/>
          </p:nvSpPr>
          <p:spPr bwMode="gray">
            <a:xfrm>
              <a:off x="3132278" y="2778478"/>
              <a:ext cx="235828" cy="64317"/>
            </a:xfrm>
            <a:custGeom>
              <a:avLst/>
              <a:gdLst/>
              <a:ahLst/>
              <a:cxnLst/>
              <a:rect l="0" t="0" r="0" b="0"/>
              <a:pathLst>
                <a:path w="209550" h="57150">
                  <a:moveTo>
                    <a:pt x="7144" y="7144"/>
                  </a:moveTo>
                  <a:lnTo>
                    <a:pt x="7144" y="19526"/>
                  </a:lnTo>
                  <a:cubicBezTo>
                    <a:pt x="7144" y="40481"/>
                    <a:pt x="24289" y="56674"/>
                    <a:pt x="44291" y="56674"/>
                  </a:cubicBezTo>
                  <a:lnTo>
                    <a:pt x="167164" y="56674"/>
                  </a:lnTo>
                  <a:cubicBezTo>
                    <a:pt x="188119" y="56674"/>
                    <a:pt x="204311" y="39529"/>
                    <a:pt x="204311" y="19526"/>
                  </a:cubicBezTo>
                  <a:lnTo>
                    <a:pt x="204311" y="7144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39DA858-1E17-41E2-A370-09FD78386FD7}"/>
                </a:ext>
              </a:extLst>
            </p:cNvPr>
            <p:cNvSpPr/>
            <p:nvPr/>
          </p:nvSpPr>
          <p:spPr bwMode="gray">
            <a:xfrm>
              <a:off x="3407769" y="2427952"/>
              <a:ext cx="375181" cy="375181"/>
            </a:xfrm>
            <a:custGeom>
              <a:avLst/>
              <a:gdLst/>
              <a:ahLst/>
              <a:cxnLst/>
              <a:rect l="0" t="0" r="0" b="0"/>
              <a:pathLst>
                <a:path w="333375" h="333375">
                  <a:moveTo>
                    <a:pt x="329089" y="168116"/>
                  </a:moveTo>
                  <a:cubicBezTo>
                    <a:pt x="329089" y="257019"/>
                    <a:pt x="257019" y="329089"/>
                    <a:pt x="168116" y="329089"/>
                  </a:cubicBezTo>
                  <a:cubicBezTo>
                    <a:pt x="79214" y="329089"/>
                    <a:pt x="7144" y="257019"/>
                    <a:pt x="7144" y="168116"/>
                  </a:cubicBezTo>
                  <a:cubicBezTo>
                    <a:pt x="7144" y="79214"/>
                    <a:pt x="79214" y="7144"/>
                    <a:pt x="168116" y="7144"/>
                  </a:cubicBezTo>
                  <a:cubicBezTo>
                    <a:pt x="257019" y="7144"/>
                    <a:pt x="329089" y="79214"/>
                    <a:pt x="329089" y="168116"/>
                  </a:cubicBezTo>
                  <a:close/>
                </a:path>
              </a:pathLst>
            </a:custGeom>
            <a:solidFill>
              <a:srgbClr val="D2D2D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982D7D2-16E2-4E71-A0C9-3E8F510C3D69}"/>
                </a:ext>
              </a:extLst>
            </p:cNvPr>
            <p:cNvSpPr/>
            <p:nvPr/>
          </p:nvSpPr>
          <p:spPr bwMode="gray">
            <a:xfrm>
              <a:off x="3436711" y="2456894"/>
              <a:ext cx="310864" cy="310864"/>
            </a:xfrm>
            <a:custGeom>
              <a:avLst/>
              <a:gdLst/>
              <a:ahLst/>
              <a:cxnLst/>
              <a:rect l="0" t="0" r="0" b="0"/>
              <a:pathLst>
                <a:path w="276225" h="276225">
                  <a:moveTo>
                    <a:pt x="277654" y="142399"/>
                  </a:moveTo>
                  <a:cubicBezTo>
                    <a:pt x="277654" y="217098"/>
                    <a:pt x="217098" y="277654"/>
                    <a:pt x="142399" y="277654"/>
                  </a:cubicBezTo>
                  <a:cubicBezTo>
                    <a:pt x="67699" y="277654"/>
                    <a:pt x="7144" y="217098"/>
                    <a:pt x="7144" y="142399"/>
                  </a:cubicBezTo>
                  <a:cubicBezTo>
                    <a:pt x="7144" y="67699"/>
                    <a:pt x="67699" y="7144"/>
                    <a:pt x="142399" y="7144"/>
                  </a:cubicBezTo>
                  <a:cubicBezTo>
                    <a:pt x="217098" y="7144"/>
                    <a:pt x="277654" y="67699"/>
                    <a:pt x="277654" y="142399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D67E79-9064-4B8F-BA3E-B5213A78A1AD}"/>
                </a:ext>
              </a:extLst>
            </p:cNvPr>
            <p:cNvSpPr/>
            <p:nvPr/>
          </p:nvSpPr>
          <p:spPr bwMode="gray">
            <a:xfrm>
              <a:off x="3588927" y="2609110"/>
              <a:ext cx="160792" cy="160792"/>
            </a:xfrm>
            <a:custGeom>
              <a:avLst/>
              <a:gdLst/>
              <a:ahLst/>
              <a:cxnLst/>
              <a:rect l="0" t="0" r="0" b="0"/>
              <a:pathLst>
                <a:path w="142875" h="142875">
                  <a:moveTo>
                    <a:pt x="7144" y="141446"/>
                  </a:moveTo>
                  <a:lnTo>
                    <a:pt x="7144" y="7144"/>
                  </a:lnTo>
                  <a:lnTo>
                    <a:pt x="142399" y="7144"/>
                  </a:lnTo>
                  <a:lnTo>
                    <a:pt x="142399" y="7144"/>
                  </a:lnTo>
                  <a:cubicBezTo>
                    <a:pt x="142399" y="81439"/>
                    <a:pt x="82391" y="141446"/>
                    <a:pt x="7144" y="141446"/>
                  </a:cubicBezTo>
                  <a:lnTo>
                    <a:pt x="7144" y="141446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881B2B0-E706-40DB-902E-6B6B6D6A4E6C}"/>
                </a:ext>
              </a:extLst>
            </p:cNvPr>
            <p:cNvSpPr/>
            <p:nvPr/>
          </p:nvSpPr>
          <p:spPr bwMode="gray">
            <a:xfrm>
              <a:off x="3497812" y="2517996"/>
              <a:ext cx="192950" cy="192950"/>
            </a:xfrm>
            <a:custGeom>
              <a:avLst/>
              <a:gdLst/>
              <a:ahLst/>
              <a:cxnLst/>
              <a:rect l="0" t="0" r="0" b="0"/>
              <a:pathLst>
                <a:path w="171450" h="171450">
                  <a:moveTo>
                    <a:pt x="169069" y="88106"/>
                  </a:moveTo>
                  <a:cubicBezTo>
                    <a:pt x="169069" y="132821"/>
                    <a:pt x="132821" y="169069"/>
                    <a:pt x="88106" y="169069"/>
                  </a:cubicBezTo>
                  <a:cubicBezTo>
                    <a:pt x="43392" y="169069"/>
                    <a:pt x="7144" y="132821"/>
                    <a:pt x="7144" y="88106"/>
                  </a:cubicBezTo>
                  <a:cubicBezTo>
                    <a:pt x="7144" y="43392"/>
                    <a:pt x="43392" y="7144"/>
                    <a:pt x="88106" y="7144"/>
                  </a:cubicBezTo>
                  <a:cubicBezTo>
                    <a:pt x="132821" y="7144"/>
                    <a:pt x="169069" y="43392"/>
                    <a:pt x="169069" y="88106"/>
                  </a:cubicBezTo>
                  <a:close/>
                </a:path>
              </a:pathLst>
            </a:custGeom>
            <a:solidFill>
              <a:srgbClr val="505050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A2AA46AB-18A0-4251-B4B2-A28EA46FABC6}"/>
                </a:ext>
              </a:extLst>
            </p:cNvPr>
            <p:cNvSpPr/>
            <p:nvPr/>
          </p:nvSpPr>
          <p:spPr bwMode="gray">
            <a:xfrm>
              <a:off x="3528898" y="2549081"/>
              <a:ext cx="75036" cy="75036"/>
            </a:xfrm>
            <a:custGeom>
              <a:avLst/>
              <a:gdLst/>
              <a:ahLst/>
              <a:cxnLst/>
              <a:rect l="0" t="0" r="0" b="0"/>
              <a:pathLst>
                <a:path w="66675" h="66675">
                  <a:moveTo>
                    <a:pt x="68104" y="37624"/>
                  </a:moveTo>
                  <a:cubicBezTo>
                    <a:pt x="68104" y="54457"/>
                    <a:pt x="54457" y="68104"/>
                    <a:pt x="37624" y="68104"/>
                  </a:cubicBezTo>
                  <a:cubicBezTo>
                    <a:pt x="20790" y="68104"/>
                    <a:pt x="7144" y="54457"/>
                    <a:pt x="7144" y="37624"/>
                  </a:cubicBezTo>
                  <a:cubicBezTo>
                    <a:pt x="7144" y="20790"/>
                    <a:pt x="20790" y="7144"/>
                    <a:pt x="37624" y="7144"/>
                  </a:cubicBezTo>
                  <a:cubicBezTo>
                    <a:pt x="54457" y="7144"/>
                    <a:pt x="68104" y="20790"/>
                    <a:pt x="68104" y="37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F43424F-38F4-432B-AE52-7BC0881813F7}"/>
                </a:ext>
              </a:extLst>
            </p:cNvPr>
            <p:cNvSpPr/>
            <p:nvPr/>
          </p:nvSpPr>
          <p:spPr bwMode="gray">
            <a:xfrm>
              <a:off x="3388474" y="2416160"/>
              <a:ext cx="64317" cy="64317"/>
            </a:xfrm>
            <a:custGeom>
              <a:avLst/>
              <a:gdLst/>
              <a:ahLst/>
              <a:cxnLst/>
              <a:rect l="0" t="0" r="0" b="0"/>
              <a:pathLst>
                <a:path w="57150" h="57150">
                  <a:moveTo>
                    <a:pt x="58579" y="32861"/>
                  </a:moveTo>
                  <a:cubicBezTo>
                    <a:pt x="58579" y="47065"/>
                    <a:pt x="47065" y="58579"/>
                    <a:pt x="32861" y="58579"/>
                  </a:cubicBezTo>
                  <a:cubicBezTo>
                    <a:pt x="18658" y="58579"/>
                    <a:pt x="7144" y="47065"/>
                    <a:pt x="7144" y="32861"/>
                  </a:cubicBezTo>
                  <a:cubicBezTo>
                    <a:pt x="7144" y="18658"/>
                    <a:pt x="18658" y="7144"/>
                    <a:pt x="32861" y="7144"/>
                  </a:cubicBezTo>
                  <a:cubicBezTo>
                    <a:pt x="47065" y="7144"/>
                    <a:pt x="58579" y="18658"/>
                    <a:pt x="58579" y="32861"/>
                  </a:cubicBez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A05F177-6194-465B-BE2A-800E5ED64142}"/>
                </a:ext>
              </a:extLst>
            </p:cNvPr>
            <p:cNvSpPr/>
            <p:nvPr/>
          </p:nvSpPr>
          <p:spPr bwMode="gray">
            <a:xfrm>
              <a:off x="3132278" y="2392577"/>
              <a:ext cx="96475" cy="396620"/>
            </a:xfrm>
            <a:custGeom>
              <a:avLst/>
              <a:gdLst/>
              <a:ahLst/>
              <a:cxnLst/>
              <a:rect l="0" t="0" r="0" b="0"/>
              <a:pathLst>
                <a:path w="85725" h="352425">
                  <a:moveTo>
                    <a:pt x="7144" y="7144"/>
                  </a:moveTo>
                  <a:lnTo>
                    <a:pt x="83344" y="7144"/>
                  </a:lnTo>
                  <a:lnTo>
                    <a:pt x="83344" y="350044"/>
                  </a:lnTo>
                  <a:lnTo>
                    <a:pt x="7144" y="35004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83D552AA-E188-4FE9-820E-7624D3B5EABD}"/>
                </a:ext>
              </a:extLst>
            </p:cNvPr>
            <p:cNvSpPr/>
            <p:nvPr/>
          </p:nvSpPr>
          <p:spPr bwMode="gray">
            <a:xfrm>
              <a:off x="3451718" y="2316470"/>
              <a:ext cx="289425" cy="85756"/>
            </a:xfrm>
            <a:custGeom>
              <a:avLst/>
              <a:gdLst/>
              <a:ahLst/>
              <a:cxnLst/>
              <a:rect l="0" t="0" r="0" b="0"/>
              <a:pathLst>
                <a:path w="257175" h="76200">
                  <a:moveTo>
                    <a:pt x="251936" y="75724"/>
                  </a:moveTo>
                  <a:lnTo>
                    <a:pt x="7144" y="75724"/>
                  </a:lnTo>
                  <a:lnTo>
                    <a:pt x="41434" y="17621"/>
                  </a:lnTo>
                  <a:cubicBezTo>
                    <a:pt x="45244" y="10954"/>
                    <a:pt x="52864" y="7144"/>
                    <a:pt x="60484" y="7144"/>
                  </a:cubicBezTo>
                  <a:lnTo>
                    <a:pt x="198596" y="7144"/>
                  </a:lnTo>
                  <a:cubicBezTo>
                    <a:pt x="206216" y="7144"/>
                    <a:pt x="213836" y="10954"/>
                    <a:pt x="217646" y="17621"/>
                  </a:cubicBezTo>
                  <a:lnTo>
                    <a:pt x="251936" y="75724"/>
                  </a:lnTo>
                  <a:close/>
                </a:path>
              </a:pathLst>
            </a:custGeom>
            <a:solidFill>
              <a:srgbClr val="737373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3284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9225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13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390756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B81D8C-4C31-41CF-81D0-4CC568E35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0D150-A9DE-4F39-86C9-7D38F43CCD86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47094DA-DA93-4CD2-A064-3DCB895FA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6DA05E-CF30-46A9-86AC-FEBDA78D1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F2C07D-92F8-4C70-8E18-1E2F4557176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36395F9-5D76-4DF3-A7A6-08A3F700E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205630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629641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imag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 rot="5400000">
            <a:off x="-1985377" y="1811203"/>
            <a:ext cx="6108339" cy="2485929"/>
            <a:chOff x="-32657" y="4691730"/>
            <a:chExt cx="6625100" cy="2804185"/>
          </a:xfrm>
        </p:grpSpPr>
        <p:sp>
          <p:nvSpPr>
            <p:cNvPr id="5" name="Freeform: Shape 4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-32657" y="6452313"/>
              <a:ext cx="6527800" cy="104360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 rot="5400000">
            <a:off x="1259186" y="-1691280"/>
            <a:ext cx="1150258" cy="4399565"/>
            <a:chOff x="1113971" y="3497757"/>
            <a:chExt cx="1150258" cy="3142530"/>
          </a:xfrm>
        </p:grpSpPr>
        <p:sp>
          <p:nvSpPr>
            <p:cNvPr id="10" name="Freeform: Shape 9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: Shape 13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5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3897769" y="511147"/>
            <a:ext cx="274262" cy="274262"/>
            <a:chOff x="3766458" y="4912364"/>
            <a:chExt cx="468086" cy="468086"/>
          </a:xfrm>
        </p:grpSpPr>
        <p:sp>
          <p:nvSpPr>
            <p:cNvPr id="16" name="Oval 1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19050">
              <a:solidFill>
                <a:schemeClr val="bg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flipH="1">
            <a:off x="5387922" y="2675607"/>
            <a:ext cx="6879800" cy="3485708"/>
            <a:chOff x="2661557" y="1008743"/>
            <a:chExt cx="6025243" cy="1848757"/>
          </a:xfrm>
        </p:grpSpPr>
        <p:sp>
          <p:nvSpPr>
            <p:cNvPr id="20" name="Freeform: Shape 19"/>
            <p:cNvSpPr/>
            <p:nvPr/>
          </p:nvSpPr>
          <p:spPr>
            <a:xfrm>
              <a:off x="2661557" y="1008743"/>
              <a:ext cx="6025243" cy="12391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661557" y="1008743"/>
              <a:ext cx="6025243" cy="13915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: Shape 21"/>
            <p:cNvSpPr/>
            <p:nvPr/>
          </p:nvSpPr>
          <p:spPr>
            <a:xfrm>
              <a:off x="2661557" y="1008743"/>
              <a:ext cx="6025243" cy="15439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661557" y="1008743"/>
              <a:ext cx="6025243" cy="16963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: Shape 23"/>
            <p:cNvSpPr/>
            <p:nvPr/>
          </p:nvSpPr>
          <p:spPr>
            <a:xfrm>
              <a:off x="2661557" y="1008743"/>
              <a:ext cx="6025243" cy="1848757"/>
            </a:xfrm>
            <a:custGeom>
              <a:avLst/>
              <a:gdLst>
                <a:gd name="connsiteX0" fmla="*/ 0 w 6025243"/>
                <a:gd name="connsiteY0" fmla="*/ 1765871 h 1765871"/>
                <a:gd name="connsiteX1" fmla="*/ 1856014 w 6025243"/>
                <a:gd name="connsiteY1" fmla="*/ 1085514 h 1765871"/>
                <a:gd name="connsiteX2" fmla="*/ 3788229 w 6025243"/>
                <a:gd name="connsiteY2" fmla="*/ 111242 h 1765871"/>
                <a:gd name="connsiteX3" fmla="*/ 6025243 w 6025243"/>
                <a:gd name="connsiteY3" fmla="*/ 18714 h 1765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5243" h="1765871">
                  <a:moveTo>
                    <a:pt x="0" y="1765871"/>
                  </a:moveTo>
                  <a:cubicBezTo>
                    <a:pt x="612321" y="1563578"/>
                    <a:pt x="1224642" y="1361286"/>
                    <a:pt x="1856014" y="1085514"/>
                  </a:cubicBezTo>
                  <a:cubicBezTo>
                    <a:pt x="2487386" y="809742"/>
                    <a:pt x="3093358" y="289042"/>
                    <a:pt x="3788229" y="111242"/>
                  </a:cubicBezTo>
                  <a:cubicBezTo>
                    <a:pt x="4483100" y="-66558"/>
                    <a:pt x="5667829" y="23250"/>
                    <a:pt x="6025243" y="18714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5161680" y="2470138"/>
            <a:ext cx="468086" cy="468086"/>
            <a:chOff x="3766458" y="4912364"/>
            <a:chExt cx="468086" cy="468086"/>
          </a:xfrm>
        </p:grpSpPr>
        <p:sp>
          <p:nvSpPr>
            <p:cNvPr id="26" name="Oval 25"/>
            <p:cNvSpPr/>
            <p:nvPr/>
          </p:nvSpPr>
          <p:spPr>
            <a:xfrm>
              <a:off x="3766458" y="4912364"/>
              <a:ext cx="468086" cy="468086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860079" y="5005985"/>
              <a:ext cx="280844" cy="280844"/>
            </a:xfrm>
            <a:prstGeom prst="ellipse">
              <a:avLst/>
            </a:prstGeom>
            <a:noFill/>
            <a:ln w="28575">
              <a:solidFill>
                <a:schemeClr val="bg1">
                  <a:alpha val="7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959681" y="5105587"/>
              <a:ext cx="81640" cy="81640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 rot="19175348" flipH="1">
            <a:off x="4554593" y="364683"/>
            <a:ext cx="3645245" cy="1320522"/>
            <a:chOff x="5347225" y="-195944"/>
            <a:chExt cx="3320143" cy="727076"/>
          </a:xfrm>
        </p:grpSpPr>
        <p:sp>
          <p:nvSpPr>
            <p:cNvPr id="30" name="Freeform: Shape 29"/>
            <p:cNvSpPr/>
            <p:nvPr/>
          </p:nvSpPr>
          <p:spPr>
            <a:xfrm flipV="1">
              <a:off x="5347225" y="261256"/>
              <a:ext cx="3320143" cy="2698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 flipV="1">
              <a:off x="5347225" y="108856"/>
              <a:ext cx="3320143" cy="4222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: Shape 31"/>
            <p:cNvSpPr/>
            <p:nvPr/>
          </p:nvSpPr>
          <p:spPr>
            <a:xfrm flipV="1">
              <a:off x="5347225" y="-43544"/>
              <a:ext cx="3320143" cy="5746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 flipV="1">
              <a:off x="5347225" y="-195944"/>
              <a:ext cx="3320143" cy="727076"/>
            </a:xfrm>
            <a:custGeom>
              <a:avLst/>
              <a:gdLst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  <a:gd name="connsiteX0" fmla="*/ 3320143 w 3320143"/>
                <a:gd name="connsiteY0" fmla="*/ 0 h 1357085"/>
                <a:gd name="connsiteX1" fmla="*/ 0 w 3320143"/>
                <a:gd name="connsiteY1" fmla="*/ 1357085 h 135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20143" h="1357085">
                  <a:moveTo>
                    <a:pt x="3320143" y="0"/>
                  </a:moveTo>
                  <a:cubicBezTo>
                    <a:pt x="2133600" y="263676"/>
                    <a:pt x="1135743" y="1151466"/>
                    <a:pt x="0" y="1357085"/>
                  </a:cubicBezTo>
                </a:path>
              </a:pathLst>
            </a:custGeom>
            <a:noFill/>
            <a:ln>
              <a:solidFill>
                <a:schemeClr val="bg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4" name="Oval 33"/>
          <p:cNvSpPr/>
          <p:nvPr userDrawn="1"/>
        </p:nvSpPr>
        <p:spPr>
          <a:xfrm>
            <a:off x="1879902" y="59949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 userDrawn="1"/>
        </p:nvSpPr>
        <p:spPr>
          <a:xfrm>
            <a:off x="6371462" y="5806091"/>
            <a:ext cx="79452" cy="79452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836477" y="3344498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 userDrawn="1"/>
        </p:nvSpPr>
        <p:spPr>
          <a:xfrm>
            <a:off x="871870" y="610451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 userDrawn="1"/>
        </p:nvSpPr>
        <p:spPr>
          <a:xfrm>
            <a:off x="1381204" y="3209302"/>
            <a:ext cx="128791" cy="128791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 userDrawn="1"/>
        </p:nvSpPr>
        <p:spPr>
          <a:xfrm>
            <a:off x="1577329" y="738421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 userDrawn="1"/>
        </p:nvSpPr>
        <p:spPr>
          <a:xfrm>
            <a:off x="1049170" y="644341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1791000" y="2788039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3048816" y="2896666"/>
            <a:ext cx="156013" cy="15601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 rot="5400000">
            <a:off x="-2095598" y="1716892"/>
            <a:ext cx="5147155" cy="1686894"/>
            <a:chOff x="-32657" y="4691730"/>
            <a:chExt cx="6625100" cy="2804185"/>
          </a:xfrm>
        </p:grpSpPr>
        <p:sp>
          <p:nvSpPr>
            <p:cNvPr id="44" name="Freeform: Shape 43"/>
            <p:cNvSpPr/>
            <p:nvPr/>
          </p:nvSpPr>
          <p:spPr>
            <a:xfrm>
              <a:off x="-32657" y="4691730"/>
              <a:ext cx="6625100" cy="2687163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625100"/>
                <a:gd name="connsiteY0" fmla="*/ 1190184 h 2687163"/>
                <a:gd name="connsiteX1" fmla="*/ 765628 w 6625100"/>
                <a:gd name="connsiteY1" fmla="*/ 1865099 h 2687163"/>
                <a:gd name="connsiteX2" fmla="*/ 1531257 w 6625100"/>
                <a:gd name="connsiteY2" fmla="*/ 13 h 2687163"/>
                <a:gd name="connsiteX3" fmla="*/ 2140857 w 6625100"/>
                <a:gd name="connsiteY3" fmla="*/ 1897756 h 2687163"/>
                <a:gd name="connsiteX4" fmla="*/ 2804886 w 6625100"/>
                <a:gd name="connsiteY4" fmla="*/ 801927 h 2687163"/>
                <a:gd name="connsiteX5" fmla="*/ 3291114 w 6625100"/>
                <a:gd name="connsiteY5" fmla="*/ 1846956 h 2687163"/>
                <a:gd name="connsiteX6" fmla="*/ 3755571 w 6625100"/>
                <a:gd name="connsiteY6" fmla="*/ 1273641 h 2687163"/>
                <a:gd name="connsiteX7" fmla="*/ 4071257 w 6625100"/>
                <a:gd name="connsiteY7" fmla="*/ 1763499 h 2687163"/>
                <a:gd name="connsiteX8" fmla="*/ 4466771 w 6625100"/>
                <a:gd name="connsiteY8" fmla="*/ 399156 h 2687163"/>
                <a:gd name="connsiteX9" fmla="*/ 4858657 w 6625100"/>
                <a:gd name="connsiteY9" fmla="*/ 1357099 h 2687163"/>
                <a:gd name="connsiteX10" fmla="*/ 5148943 w 6625100"/>
                <a:gd name="connsiteY10" fmla="*/ 747499 h 2687163"/>
                <a:gd name="connsiteX11" fmla="*/ 5588000 w 6625100"/>
                <a:gd name="connsiteY11" fmla="*/ 1886870 h 2687163"/>
                <a:gd name="connsiteX12" fmla="*/ 6074228 w 6625100"/>
                <a:gd name="connsiteY12" fmla="*/ 928927 h 2687163"/>
                <a:gd name="connsiteX13" fmla="*/ 6625100 w 6625100"/>
                <a:gd name="connsiteY13" fmla="*/ 2687163 h 268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25100" h="2687163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1378" y="795545"/>
                    <a:pt x="6074228" y="928927"/>
                  </a:cubicBezTo>
                  <a:cubicBezTo>
                    <a:pt x="6247078" y="1062309"/>
                    <a:pt x="6476630" y="2043394"/>
                    <a:pt x="6625100" y="2687163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-32656" y="5183779"/>
              <a:ext cx="6586180" cy="221187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6586180"/>
                <a:gd name="connsiteY0" fmla="*/ 1190184 h 2518602"/>
                <a:gd name="connsiteX1" fmla="*/ 765628 w 6586180"/>
                <a:gd name="connsiteY1" fmla="*/ 1865099 h 2518602"/>
                <a:gd name="connsiteX2" fmla="*/ 1531257 w 6586180"/>
                <a:gd name="connsiteY2" fmla="*/ 13 h 2518602"/>
                <a:gd name="connsiteX3" fmla="*/ 2140857 w 6586180"/>
                <a:gd name="connsiteY3" fmla="*/ 1897756 h 2518602"/>
                <a:gd name="connsiteX4" fmla="*/ 2804886 w 6586180"/>
                <a:gd name="connsiteY4" fmla="*/ 801927 h 2518602"/>
                <a:gd name="connsiteX5" fmla="*/ 3291114 w 6586180"/>
                <a:gd name="connsiteY5" fmla="*/ 1846956 h 2518602"/>
                <a:gd name="connsiteX6" fmla="*/ 3755571 w 6586180"/>
                <a:gd name="connsiteY6" fmla="*/ 1273641 h 2518602"/>
                <a:gd name="connsiteX7" fmla="*/ 4071257 w 6586180"/>
                <a:gd name="connsiteY7" fmla="*/ 1763499 h 2518602"/>
                <a:gd name="connsiteX8" fmla="*/ 4466771 w 6586180"/>
                <a:gd name="connsiteY8" fmla="*/ 399156 h 2518602"/>
                <a:gd name="connsiteX9" fmla="*/ 4858657 w 6586180"/>
                <a:gd name="connsiteY9" fmla="*/ 1357099 h 2518602"/>
                <a:gd name="connsiteX10" fmla="*/ 5148943 w 6586180"/>
                <a:gd name="connsiteY10" fmla="*/ 747499 h 2518602"/>
                <a:gd name="connsiteX11" fmla="*/ 5588000 w 6586180"/>
                <a:gd name="connsiteY11" fmla="*/ 1886870 h 2518602"/>
                <a:gd name="connsiteX12" fmla="*/ 6074228 w 6586180"/>
                <a:gd name="connsiteY12" fmla="*/ 928927 h 2518602"/>
                <a:gd name="connsiteX13" fmla="*/ 6586180 w 6586180"/>
                <a:gd name="connsiteY13" fmla="*/ 2518602 h 25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86180" h="2518602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07865" y="823638"/>
                    <a:pt x="6074228" y="928927"/>
                  </a:cubicBezTo>
                  <a:cubicBezTo>
                    <a:pt x="6240591" y="1034216"/>
                    <a:pt x="6437710" y="1874833"/>
                    <a:pt x="6586180" y="2518602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-32657" y="5939971"/>
              <a:ext cx="6527800" cy="1476132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7800" h="2282384">
                  <a:moveTo>
                    <a:pt x="0" y="1190184"/>
                  </a:moveTo>
                  <a:cubicBezTo>
                    <a:pt x="255209" y="1626822"/>
                    <a:pt x="510419" y="2063461"/>
                    <a:pt x="765628" y="1865099"/>
                  </a:cubicBezTo>
                  <a:cubicBezTo>
                    <a:pt x="1020837" y="1666737"/>
                    <a:pt x="1302052" y="-5430"/>
                    <a:pt x="1531257" y="13"/>
                  </a:cubicBezTo>
                  <a:cubicBezTo>
                    <a:pt x="1760462" y="5456"/>
                    <a:pt x="1928585" y="1764104"/>
                    <a:pt x="2140857" y="1897756"/>
                  </a:cubicBezTo>
                  <a:cubicBezTo>
                    <a:pt x="2353129" y="2031408"/>
                    <a:pt x="2613177" y="810394"/>
                    <a:pt x="2804886" y="801927"/>
                  </a:cubicBezTo>
                  <a:cubicBezTo>
                    <a:pt x="2996595" y="793460"/>
                    <a:pt x="3132667" y="1768337"/>
                    <a:pt x="3291114" y="1846956"/>
                  </a:cubicBezTo>
                  <a:cubicBezTo>
                    <a:pt x="3449561" y="1925575"/>
                    <a:pt x="3625547" y="1287550"/>
                    <a:pt x="3755571" y="1273641"/>
                  </a:cubicBezTo>
                  <a:cubicBezTo>
                    <a:pt x="3885595" y="1259732"/>
                    <a:pt x="3952724" y="1909247"/>
                    <a:pt x="4071257" y="1763499"/>
                  </a:cubicBezTo>
                  <a:cubicBezTo>
                    <a:pt x="4189790" y="1617752"/>
                    <a:pt x="4335538" y="466889"/>
                    <a:pt x="4466771" y="399156"/>
                  </a:cubicBezTo>
                  <a:cubicBezTo>
                    <a:pt x="4598004" y="331423"/>
                    <a:pt x="4744962" y="1299042"/>
                    <a:pt x="4858657" y="1357099"/>
                  </a:cubicBezTo>
                  <a:cubicBezTo>
                    <a:pt x="4972352" y="1415156"/>
                    <a:pt x="5027386" y="659204"/>
                    <a:pt x="5148943" y="747499"/>
                  </a:cubicBezTo>
                  <a:cubicBezTo>
                    <a:pt x="5270500" y="835794"/>
                    <a:pt x="5433786" y="1856632"/>
                    <a:pt x="5588000" y="1886870"/>
                  </a:cubicBezTo>
                  <a:cubicBezTo>
                    <a:pt x="5742214" y="1917108"/>
                    <a:pt x="5917595" y="863008"/>
                    <a:pt x="6074228" y="928927"/>
                  </a:cubicBezTo>
                  <a:cubicBezTo>
                    <a:pt x="6230861" y="994846"/>
                    <a:pt x="6379330" y="1638615"/>
                    <a:pt x="6527800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732971" y="6452314"/>
              <a:ext cx="5762172" cy="1043601"/>
            </a:xfrm>
            <a:custGeom>
              <a:avLst/>
              <a:gdLst>
                <a:gd name="connsiteX0" fmla="*/ 0 w 6527800"/>
                <a:gd name="connsiteY0" fmla="*/ 1190184 h 2282384"/>
                <a:gd name="connsiteX1" fmla="*/ 765628 w 6527800"/>
                <a:gd name="connsiteY1" fmla="*/ 1865099 h 2282384"/>
                <a:gd name="connsiteX2" fmla="*/ 1531257 w 6527800"/>
                <a:gd name="connsiteY2" fmla="*/ 13 h 2282384"/>
                <a:gd name="connsiteX3" fmla="*/ 2140857 w 6527800"/>
                <a:gd name="connsiteY3" fmla="*/ 1897756 h 2282384"/>
                <a:gd name="connsiteX4" fmla="*/ 2804886 w 6527800"/>
                <a:gd name="connsiteY4" fmla="*/ 801927 h 2282384"/>
                <a:gd name="connsiteX5" fmla="*/ 3291114 w 6527800"/>
                <a:gd name="connsiteY5" fmla="*/ 1846956 h 2282384"/>
                <a:gd name="connsiteX6" fmla="*/ 3755571 w 6527800"/>
                <a:gd name="connsiteY6" fmla="*/ 1273641 h 2282384"/>
                <a:gd name="connsiteX7" fmla="*/ 4071257 w 6527800"/>
                <a:gd name="connsiteY7" fmla="*/ 1763499 h 2282384"/>
                <a:gd name="connsiteX8" fmla="*/ 4466771 w 6527800"/>
                <a:gd name="connsiteY8" fmla="*/ 399156 h 2282384"/>
                <a:gd name="connsiteX9" fmla="*/ 4858657 w 6527800"/>
                <a:gd name="connsiteY9" fmla="*/ 1357099 h 2282384"/>
                <a:gd name="connsiteX10" fmla="*/ 5148943 w 6527800"/>
                <a:gd name="connsiteY10" fmla="*/ 747499 h 2282384"/>
                <a:gd name="connsiteX11" fmla="*/ 5588000 w 6527800"/>
                <a:gd name="connsiteY11" fmla="*/ 1886870 h 2282384"/>
                <a:gd name="connsiteX12" fmla="*/ 6074228 w 6527800"/>
                <a:gd name="connsiteY12" fmla="*/ 928927 h 2282384"/>
                <a:gd name="connsiteX13" fmla="*/ 6527800 w 6527800"/>
                <a:gd name="connsiteY13" fmla="*/ 2282384 h 2282384"/>
                <a:gd name="connsiteX0" fmla="*/ 0 w 5762172"/>
                <a:gd name="connsiteY0" fmla="*/ 1865099 h 2282384"/>
                <a:gd name="connsiteX1" fmla="*/ 765629 w 5762172"/>
                <a:gd name="connsiteY1" fmla="*/ 13 h 2282384"/>
                <a:gd name="connsiteX2" fmla="*/ 1375229 w 5762172"/>
                <a:gd name="connsiteY2" fmla="*/ 1897756 h 2282384"/>
                <a:gd name="connsiteX3" fmla="*/ 2039258 w 5762172"/>
                <a:gd name="connsiteY3" fmla="*/ 801927 h 2282384"/>
                <a:gd name="connsiteX4" fmla="*/ 2525486 w 5762172"/>
                <a:gd name="connsiteY4" fmla="*/ 1846956 h 2282384"/>
                <a:gd name="connsiteX5" fmla="*/ 2989943 w 5762172"/>
                <a:gd name="connsiteY5" fmla="*/ 1273641 h 2282384"/>
                <a:gd name="connsiteX6" fmla="*/ 3305629 w 5762172"/>
                <a:gd name="connsiteY6" fmla="*/ 1763499 h 2282384"/>
                <a:gd name="connsiteX7" fmla="*/ 3701143 w 5762172"/>
                <a:gd name="connsiteY7" fmla="*/ 399156 h 2282384"/>
                <a:gd name="connsiteX8" fmla="*/ 4093029 w 5762172"/>
                <a:gd name="connsiteY8" fmla="*/ 1357099 h 2282384"/>
                <a:gd name="connsiteX9" fmla="*/ 4383315 w 5762172"/>
                <a:gd name="connsiteY9" fmla="*/ 747499 h 2282384"/>
                <a:gd name="connsiteX10" fmla="*/ 4822372 w 5762172"/>
                <a:gd name="connsiteY10" fmla="*/ 1886870 h 2282384"/>
                <a:gd name="connsiteX11" fmla="*/ 5308600 w 5762172"/>
                <a:gd name="connsiteY11" fmla="*/ 928927 h 2282384"/>
                <a:gd name="connsiteX12" fmla="*/ 5762172 w 5762172"/>
                <a:gd name="connsiteY12" fmla="*/ 2282384 h 228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172" h="2282384">
                  <a:moveTo>
                    <a:pt x="0" y="1865099"/>
                  </a:moveTo>
                  <a:cubicBezTo>
                    <a:pt x="255209" y="1666737"/>
                    <a:pt x="536424" y="-5430"/>
                    <a:pt x="765629" y="13"/>
                  </a:cubicBezTo>
                  <a:cubicBezTo>
                    <a:pt x="994834" y="5456"/>
                    <a:pt x="1162957" y="1764104"/>
                    <a:pt x="1375229" y="1897756"/>
                  </a:cubicBezTo>
                  <a:cubicBezTo>
                    <a:pt x="1587501" y="2031408"/>
                    <a:pt x="1847549" y="810394"/>
                    <a:pt x="2039258" y="801927"/>
                  </a:cubicBezTo>
                  <a:cubicBezTo>
                    <a:pt x="2230967" y="793460"/>
                    <a:pt x="2367039" y="1768337"/>
                    <a:pt x="2525486" y="1846956"/>
                  </a:cubicBezTo>
                  <a:cubicBezTo>
                    <a:pt x="2683933" y="1925575"/>
                    <a:pt x="2859919" y="1287550"/>
                    <a:pt x="2989943" y="1273641"/>
                  </a:cubicBezTo>
                  <a:cubicBezTo>
                    <a:pt x="3119967" y="1259732"/>
                    <a:pt x="3187096" y="1909247"/>
                    <a:pt x="3305629" y="1763499"/>
                  </a:cubicBezTo>
                  <a:cubicBezTo>
                    <a:pt x="3424162" y="1617752"/>
                    <a:pt x="3569910" y="466889"/>
                    <a:pt x="3701143" y="399156"/>
                  </a:cubicBezTo>
                  <a:cubicBezTo>
                    <a:pt x="3832376" y="331423"/>
                    <a:pt x="3979334" y="1299042"/>
                    <a:pt x="4093029" y="1357099"/>
                  </a:cubicBezTo>
                  <a:cubicBezTo>
                    <a:pt x="4206724" y="1415156"/>
                    <a:pt x="4261758" y="659204"/>
                    <a:pt x="4383315" y="747499"/>
                  </a:cubicBezTo>
                  <a:cubicBezTo>
                    <a:pt x="4504872" y="835794"/>
                    <a:pt x="4668158" y="1856632"/>
                    <a:pt x="4822372" y="1886870"/>
                  </a:cubicBezTo>
                  <a:cubicBezTo>
                    <a:pt x="4976586" y="1917108"/>
                    <a:pt x="5151967" y="863008"/>
                    <a:pt x="5308600" y="928927"/>
                  </a:cubicBezTo>
                  <a:cubicBezTo>
                    <a:pt x="5465233" y="994846"/>
                    <a:pt x="5613702" y="1638615"/>
                    <a:pt x="5762172" y="2282384"/>
                  </a:cubicBezTo>
                </a:path>
              </a:pathLst>
            </a:custGeom>
            <a:noFill/>
            <a:ln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rot="4500000">
            <a:off x="733516" y="1543528"/>
            <a:ext cx="1392007" cy="3437532"/>
            <a:chOff x="1113971" y="3497757"/>
            <a:chExt cx="1150258" cy="3142530"/>
          </a:xfrm>
        </p:grpSpPr>
        <p:sp>
          <p:nvSpPr>
            <p:cNvPr id="49" name="Freeform: Shape 48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 rot="15300000" flipH="1">
            <a:off x="10722026" y="-306678"/>
            <a:ext cx="1590444" cy="2118297"/>
            <a:chOff x="1113971" y="3497757"/>
            <a:chExt cx="1150258" cy="3142530"/>
          </a:xfrm>
        </p:grpSpPr>
        <p:sp>
          <p:nvSpPr>
            <p:cNvPr id="54" name="Freeform: Shape 53"/>
            <p:cNvSpPr/>
            <p:nvPr/>
          </p:nvSpPr>
          <p:spPr>
            <a:xfrm>
              <a:off x="1113971" y="3497944"/>
              <a:ext cx="1150258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25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732367" y="948871"/>
                    <a:pt x="848784" y="2375807"/>
                    <a:pt x="1150258" y="30661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1201058" y="3497943"/>
              <a:ext cx="885371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  <a:gd name="connsiteX0" fmla="*/ 0 w 1013223"/>
                <a:gd name="connsiteY0" fmla="*/ 3142343 h 3142343"/>
                <a:gd name="connsiteX1" fmla="*/ 711200 w 1013223"/>
                <a:gd name="connsiteY1" fmla="*/ 0 h 3142343"/>
                <a:gd name="connsiteX2" fmla="*/ 1013223 w 1013223"/>
                <a:gd name="connsiteY2" fmla="*/ 3077029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3223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91880" y="954314"/>
                    <a:pt x="820754" y="2288721"/>
                    <a:pt x="1013223" y="3077029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1527273" y="3498130"/>
              <a:ext cx="296864" cy="3128736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711911"/>
                <a:gd name="connsiteY0" fmla="*/ 3142343 h 3142343"/>
                <a:gd name="connsiteX1" fmla="*/ 711200 w 711911"/>
                <a:gd name="connsiteY1" fmla="*/ 0 h 3142343"/>
                <a:gd name="connsiteX2" fmla="*/ 573840 w 711911"/>
                <a:gd name="connsiteY2" fmla="*/ 3115128 h 3142343"/>
                <a:gd name="connsiteX0" fmla="*/ 0 w 711199"/>
                <a:gd name="connsiteY0" fmla="*/ 3142343 h 3142343"/>
                <a:gd name="connsiteX1" fmla="*/ 711200 w 711199"/>
                <a:gd name="connsiteY1" fmla="*/ 0 h 3142343"/>
                <a:gd name="connsiteX2" fmla="*/ 573840 w 711199"/>
                <a:gd name="connsiteY2" fmla="*/ 3115128 h 3142343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  <a:gd name="connsiteX0" fmla="*/ 0 w 610465"/>
                <a:gd name="connsiteY0" fmla="*/ 3128736 h 3128736"/>
                <a:gd name="connsiteX1" fmla="*/ 610466 w 610465"/>
                <a:gd name="connsiteY1" fmla="*/ 0 h 3128736"/>
                <a:gd name="connsiteX2" fmla="*/ 473106 w 610465"/>
                <a:gd name="connsiteY2" fmla="*/ 3115128 h 3128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0465" h="3128736">
                  <a:moveTo>
                    <a:pt x="0" y="3128736"/>
                  </a:moveTo>
                  <a:cubicBezTo>
                    <a:pt x="58280" y="1629229"/>
                    <a:pt x="309899" y="524329"/>
                    <a:pt x="610466" y="0"/>
                  </a:cubicBezTo>
                  <a:cubicBezTo>
                    <a:pt x="402185" y="888999"/>
                    <a:pt x="171632" y="2424792"/>
                    <a:pt x="473106" y="3115128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1340028" y="3497757"/>
              <a:ext cx="572960" cy="3142343"/>
            </a:xfrm>
            <a:custGeom>
              <a:avLst/>
              <a:gdLst>
                <a:gd name="connsiteX0" fmla="*/ 0 w 1150258"/>
                <a:gd name="connsiteY0" fmla="*/ 3142421 h 3142421"/>
                <a:gd name="connsiteX1" fmla="*/ 711200 w 1150258"/>
                <a:gd name="connsiteY1" fmla="*/ 78 h 3142421"/>
                <a:gd name="connsiteX2" fmla="*/ 1150258 w 1150258"/>
                <a:gd name="connsiteY2" fmla="*/ 3066221 h 3142421"/>
                <a:gd name="connsiteX0" fmla="*/ 0 w 1150258"/>
                <a:gd name="connsiteY0" fmla="*/ 3166407 h 3166407"/>
                <a:gd name="connsiteX1" fmla="*/ 711200 w 1150258"/>
                <a:gd name="connsiteY1" fmla="*/ 24064 h 3166407"/>
                <a:gd name="connsiteX2" fmla="*/ 1150258 w 1150258"/>
                <a:gd name="connsiteY2" fmla="*/ 3090207 h 3166407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3584 h 3143584"/>
                <a:gd name="connsiteX1" fmla="*/ 711200 w 1150258"/>
                <a:gd name="connsiteY1" fmla="*/ 1241 h 3143584"/>
                <a:gd name="connsiteX2" fmla="*/ 1150258 w 1150258"/>
                <a:gd name="connsiteY2" fmla="*/ 3067384 h 3143584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1150258"/>
                <a:gd name="connsiteY0" fmla="*/ 3142343 h 3142343"/>
                <a:gd name="connsiteX1" fmla="*/ 711200 w 1150258"/>
                <a:gd name="connsiteY1" fmla="*/ 0 h 3142343"/>
                <a:gd name="connsiteX2" fmla="*/ 1150258 w 1150258"/>
                <a:gd name="connsiteY2" fmla="*/ 30661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  <a:gd name="connsiteX0" fmla="*/ 0 w 839308"/>
                <a:gd name="connsiteY0" fmla="*/ 3142343 h 3142343"/>
                <a:gd name="connsiteX1" fmla="*/ 711200 w 839308"/>
                <a:gd name="connsiteY1" fmla="*/ 0 h 3142343"/>
                <a:gd name="connsiteX2" fmla="*/ 839308 w 839308"/>
                <a:gd name="connsiteY2" fmla="*/ 3104243 h 314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9308" h="3142343">
                  <a:moveTo>
                    <a:pt x="0" y="3142343"/>
                  </a:moveTo>
                  <a:cubicBezTo>
                    <a:pt x="259745" y="1577521"/>
                    <a:pt x="410633" y="524329"/>
                    <a:pt x="711200" y="0"/>
                  </a:cubicBezTo>
                  <a:cubicBezTo>
                    <a:pt x="640677" y="951593"/>
                    <a:pt x="661415" y="2389414"/>
                    <a:pt x="839308" y="3104243"/>
                  </a:cubicBezTo>
                </a:path>
              </a:pathLst>
            </a:custGeom>
            <a:noFill/>
            <a:ln w="19050" cap="rnd">
              <a:solidFill>
                <a:schemeClr val="bg1">
                  <a:alpha val="40000"/>
                </a:schemeClr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58" name="Oval 57"/>
          <p:cNvSpPr/>
          <p:nvPr userDrawn="1"/>
        </p:nvSpPr>
        <p:spPr>
          <a:xfrm>
            <a:off x="2214858" y="683335"/>
            <a:ext cx="69136" cy="69136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2648273" y="669742"/>
            <a:ext cx="51383" cy="51383"/>
          </a:xfrm>
          <a:prstGeom prst="ellipse">
            <a:avLst/>
          </a:prstGeom>
          <a:solidFill>
            <a:schemeClr val="bg1">
              <a:alpha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5756094" y="2301513"/>
            <a:ext cx="3899073" cy="1191791"/>
            <a:chOff x="5756093" y="2301512"/>
            <a:chExt cx="3899073" cy="1191791"/>
          </a:xfrm>
        </p:grpSpPr>
        <p:sp>
          <p:nvSpPr>
            <p:cNvPr id="61" name="Oval 60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 userDrawn="1"/>
        </p:nvGrpSpPr>
        <p:grpSpPr>
          <a:xfrm rot="900000">
            <a:off x="9257656" y="2981059"/>
            <a:ext cx="3437832" cy="4758449"/>
            <a:chOff x="9385524" y="2790411"/>
            <a:chExt cx="3437832" cy="4758449"/>
          </a:xfrm>
        </p:grpSpPr>
        <p:sp>
          <p:nvSpPr>
            <p:cNvPr id="76" name="Freeform: Shape 75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03" name="Oval 102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0" name="Oval 79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: Shape 86"/>
              <p:cNvSpPr/>
              <p:nvPr/>
            </p:nvSpPr>
            <p:spPr>
              <a:xfrm rot="1859816">
                <a:off x="9942109" y="3114447"/>
                <a:ext cx="1657518" cy="3705100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4417" h="3497943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  <a:cubicBezTo>
                      <a:pt x="1078002" y="3406624"/>
                      <a:pt x="1217702" y="3452283"/>
                      <a:pt x="1357402" y="349794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00" name="Oval 99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89" name="Oval 88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96" name="Freeform: Shape 95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7" name="Freeform: Shape 96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8" name="Freeform: Shape 97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9" name="Freeform: Shape 98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92" name="Freeform: Shape 9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Freeform: Shape 9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4" name="Freeform: Shape 9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Freeform: Shape 9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 userDrawn="1"/>
        </p:nvGrpSpPr>
        <p:grpSpPr>
          <a:xfrm>
            <a:off x="1476697" y="1517163"/>
            <a:ext cx="3599025" cy="1100078"/>
            <a:chOff x="5756093" y="2301512"/>
            <a:chExt cx="3899073" cy="1191791"/>
          </a:xfrm>
          <a:solidFill>
            <a:schemeClr val="bg1">
              <a:alpha val="30000"/>
            </a:schemeClr>
          </a:solidFill>
        </p:grpSpPr>
        <p:sp>
          <p:nvSpPr>
            <p:cNvPr id="107" name="Oval 106"/>
            <p:cNvSpPr/>
            <p:nvPr/>
          </p:nvSpPr>
          <p:spPr>
            <a:xfrm>
              <a:off x="8266386" y="2347545"/>
              <a:ext cx="254716" cy="254716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6326273" y="2776652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7275317" y="256960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6676654" y="2855918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7021860" y="276232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9150042" y="3113746"/>
              <a:ext cx="79452" cy="79452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7521113" y="2409075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8821654" y="2895644"/>
              <a:ext cx="128791" cy="128791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7911267" y="2301512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8622432" y="2646039"/>
              <a:ext cx="156013" cy="156013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046050" y="269839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5756093" y="2768856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9364414" y="3258175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9609447" y="3447584"/>
              <a:ext cx="45719" cy="45719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21" name="Group 120"/>
          <p:cNvGrpSpPr/>
          <p:nvPr userDrawn="1"/>
        </p:nvGrpSpPr>
        <p:grpSpPr>
          <a:xfrm rot="4480905">
            <a:off x="-193235" y="3476287"/>
            <a:ext cx="3437832" cy="4758449"/>
            <a:chOff x="9385524" y="2790411"/>
            <a:chExt cx="3437832" cy="4758449"/>
          </a:xfrm>
        </p:grpSpPr>
        <p:sp>
          <p:nvSpPr>
            <p:cNvPr id="122" name="Freeform: Shape 121"/>
            <p:cNvSpPr/>
            <p:nvPr/>
          </p:nvSpPr>
          <p:spPr>
            <a:xfrm rot="1859816">
              <a:off x="9385524" y="2790411"/>
              <a:ext cx="2012192" cy="3930693"/>
            </a:xfrm>
            <a:custGeom>
              <a:avLst/>
              <a:gdLst>
                <a:gd name="connsiteX0" fmla="*/ 1226774 w 1394417"/>
                <a:gd name="connsiteY0" fmla="*/ 0 h 3497943"/>
                <a:gd name="connsiteX1" fmla="*/ 660717 w 1394417"/>
                <a:gd name="connsiteY1" fmla="*/ 254000 h 3497943"/>
                <a:gd name="connsiteX2" fmla="*/ 1299345 w 1394417"/>
                <a:gd name="connsiteY2" fmla="*/ 635000 h 3497943"/>
                <a:gd name="connsiteX3" fmla="*/ 317 w 1394417"/>
                <a:gd name="connsiteY3" fmla="*/ 1157514 h 3497943"/>
                <a:gd name="connsiteX4" fmla="*/ 1168717 w 1394417"/>
                <a:gd name="connsiteY4" fmla="*/ 2028371 h 3497943"/>
                <a:gd name="connsiteX5" fmla="*/ 504688 w 1394417"/>
                <a:gd name="connsiteY5" fmla="*/ 2630714 h 3497943"/>
                <a:gd name="connsiteX6" fmla="*/ 1379174 w 1394417"/>
                <a:gd name="connsiteY6" fmla="*/ 3066143 h 3497943"/>
                <a:gd name="connsiteX7" fmla="*/ 1081631 w 1394417"/>
                <a:gd name="connsiteY7" fmla="*/ 3334657 h 3497943"/>
                <a:gd name="connsiteX8" fmla="*/ 1357402 w 1394417"/>
                <a:gd name="connsiteY8" fmla="*/ 3497943 h 3497943"/>
                <a:gd name="connsiteX0" fmla="*/ 1406051 w 1406051"/>
                <a:gd name="connsiteY0" fmla="*/ 0 h 3542949"/>
                <a:gd name="connsiteX1" fmla="*/ 660717 w 1406051"/>
                <a:gd name="connsiteY1" fmla="*/ 299006 h 3542949"/>
                <a:gd name="connsiteX2" fmla="*/ 1299345 w 1406051"/>
                <a:gd name="connsiteY2" fmla="*/ 680006 h 3542949"/>
                <a:gd name="connsiteX3" fmla="*/ 317 w 1406051"/>
                <a:gd name="connsiteY3" fmla="*/ 1202520 h 3542949"/>
                <a:gd name="connsiteX4" fmla="*/ 1168717 w 1406051"/>
                <a:gd name="connsiteY4" fmla="*/ 2073377 h 3542949"/>
                <a:gd name="connsiteX5" fmla="*/ 504688 w 1406051"/>
                <a:gd name="connsiteY5" fmla="*/ 2675720 h 3542949"/>
                <a:gd name="connsiteX6" fmla="*/ 1379174 w 1406051"/>
                <a:gd name="connsiteY6" fmla="*/ 3111149 h 3542949"/>
                <a:gd name="connsiteX7" fmla="*/ 1081631 w 1406051"/>
                <a:gd name="connsiteY7" fmla="*/ 3379663 h 3542949"/>
                <a:gd name="connsiteX8" fmla="*/ 1357402 w 1406051"/>
                <a:gd name="connsiteY8" fmla="*/ 3542949 h 3542949"/>
                <a:gd name="connsiteX0" fmla="*/ 1406051 w 1442185"/>
                <a:gd name="connsiteY0" fmla="*/ 0 h 3633781"/>
                <a:gd name="connsiteX1" fmla="*/ 660717 w 1442185"/>
                <a:gd name="connsiteY1" fmla="*/ 299006 h 3633781"/>
                <a:gd name="connsiteX2" fmla="*/ 1299345 w 1442185"/>
                <a:gd name="connsiteY2" fmla="*/ 680006 h 3633781"/>
                <a:gd name="connsiteX3" fmla="*/ 317 w 1442185"/>
                <a:gd name="connsiteY3" fmla="*/ 1202520 h 3633781"/>
                <a:gd name="connsiteX4" fmla="*/ 1168717 w 1442185"/>
                <a:gd name="connsiteY4" fmla="*/ 2073377 h 3633781"/>
                <a:gd name="connsiteX5" fmla="*/ 504688 w 1442185"/>
                <a:gd name="connsiteY5" fmla="*/ 2675720 h 3633781"/>
                <a:gd name="connsiteX6" fmla="*/ 1379174 w 1442185"/>
                <a:gd name="connsiteY6" fmla="*/ 3111149 h 3633781"/>
                <a:gd name="connsiteX7" fmla="*/ 1081631 w 1442185"/>
                <a:gd name="connsiteY7" fmla="*/ 3379663 h 3633781"/>
                <a:gd name="connsiteX8" fmla="*/ 1442185 w 1442185"/>
                <a:gd name="connsiteY8" fmla="*/ 3633781 h 363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185" h="3633781">
                  <a:moveTo>
                    <a:pt x="1406051" y="0"/>
                  </a:moveTo>
                  <a:cubicBezTo>
                    <a:pt x="1116975" y="74083"/>
                    <a:pt x="678501" y="185672"/>
                    <a:pt x="660717" y="299006"/>
                  </a:cubicBezTo>
                  <a:cubicBezTo>
                    <a:pt x="642933" y="412340"/>
                    <a:pt x="1409412" y="529420"/>
                    <a:pt x="1299345" y="680006"/>
                  </a:cubicBezTo>
                  <a:cubicBezTo>
                    <a:pt x="1189278" y="830592"/>
                    <a:pt x="22088" y="970292"/>
                    <a:pt x="317" y="1202520"/>
                  </a:cubicBezTo>
                  <a:cubicBezTo>
                    <a:pt x="-21454" y="1434748"/>
                    <a:pt x="1084655" y="1827844"/>
                    <a:pt x="1168717" y="2073377"/>
                  </a:cubicBezTo>
                  <a:cubicBezTo>
                    <a:pt x="1252779" y="2318910"/>
                    <a:pt x="469612" y="2502758"/>
                    <a:pt x="504688" y="2675720"/>
                  </a:cubicBezTo>
                  <a:cubicBezTo>
                    <a:pt x="539764" y="2848682"/>
                    <a:pt x="1283017" y="2993825"/>
                    <a:pt x="1379174" y="3111149"/>
                  </a:cubicBezTo>
                  <a:cubicBezTo>
                    <a:pt x="1475331" y="3228473"/>
                    <a:pt x="1071129" y="3292558"/>
                    <a:pt x="1081631" y="3379663"/>
                  </a:cubicBezTo>
                  <a:cubicBezTo>
                    <a:pt x="1092133" y="3466768"/>
                    <a:pt x="1302485" y="3588121"/>
                    <a:pt x="1442185" y="3633781"/>
                  </a:cubicBezTo>
                </a:path>
              </a:pathLst>
            </a:custGeom>
            <a:noFill/>
            <a:ln>
              <a:solidFill>
                <a:schemeClr val="bg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9659552" y="2944459"/>
              <a:ext cx="3163804" cy="4604401"/>
              <a:chOff x="9659552" y="2944459"/>
              <a:chExt cx="3163804" cy="4604401"/>
            </a:xfrm>
          </p:grpSpPr>
          <p:sp>
            <p:nvSpPr>
              <p:cNvPr id="124" name="Oval 123"/>
              <p:cNvSpPr/>
              <p:nvPr/>
            </p:nvSpPr>
            <p:spPr>
              <a:xfrm>
                <a:off x="10823866" y="3987711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5" name="Group 124"/>
              <p:cNvGrpSpPr/>
              <p:nvPr/>
            </p:nvGrpSpPr>
            <p:grpSpPr>
              <a:xfrm>
                <a:off x="10171356" y="3779500"/>
                <a:ext cx="468086" cy="468086"/>
                <a:chOff x="3766458" y="4912364"/>
                <a:chExt cx="468086" cy="468086"/>
              </a:xfrm>
            </p:grpSpPr>
            <p:sp>
              <p:nvSpPr>
                <p:cNvPr id="149" name="Oval 148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7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6" name="Oval 125"/>
              <p:cNvSpPr/>
              <p:nvPr/>
            </p:nvSpPr>
            <p:spPr>
              <a:xfrm>
                <a:off x="11273865" y="4127326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10545821" y="4457906"/>
                <a:ext cx="79452" cy="79452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/>
              <p:cNvSpPr/>
              <p:nvPr/>
            </p:nvSpPr>
            <p:spPr>
              <a:xfrm>
                <a:off x="10739111" y="4778511"/>
                <a:ext cx="79452" cy="79452"/>
              </a:xfrm>
              <a:prstGeom prst="ellipse">
                <a:avLst/>
              </a:prstGeom>
              <a:solidFill>
                <a:schemeClr val="bg1">
                  <a:alpha val="6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>
              <a:xfrm>
                <a:off x="10936920" y="5102324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11707992" y="426527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11957613" y="4161059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1057753" y="5351715"/>
                <a:ext cx="45719" cy="45719"/>
              </a:xfrm>
              <a:prstGeom prst="ellipse">
                <a:avLst/>
              </a:prstGeom>
              <a:solidFill>
                <a:schemeClr val="bg1">
                  <a:alpha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reeform: Shape 132"/>
              <p:cNvSpPr/>
              <p:nvPr/>
            </p:nvSpPr>
            <p:spPr>
              <a:xfrm rot="1859816">
                <a:off x="9986645" y="3126797"/>
                <a:ext cx="1657518" cy="3532144"/>
              </a:xfrm>
              <a:custGeom>
                <a:avLst/>
                <a:gdLst>
                  <a:gd name="connsiteX0" fmla="*/ 1226774 w 1394417"/>
                  <a:gd name="connsiteY0" fmla="*/ 0 h 3497943"/>
                  <a:gd name="connsiteX1" fmla="*/ 660717 w 1394417"/>
                  <a:gd name="connsiteY1" fmla="*/ 254000 h 3497943"/>
                  <a:gd name="connsiteX2" fmla="*/ 1299345 w 1394417"/>
                  <a:gd name="connsiteY2" fmla="*/ 635000 h 3497943"/>
                  <a:gd name="connsiteX3" fmla="*/ 317 w 1394417"/>
                  <a:gd name="connsiteY3" fmla="*/ 1157514 h 3497943"/>
                  <a:gd name="connsiteX4" fmla="*/ 1168717 w 1394417"/>
                  <a:gd name="connsiteY4" fmla="*/ 2028371 h 3497943"/>
                  <a:gd name="connsiteX5" fmla="*/ 504688 w 1394417"/>
                  <a:gd name="connsiteY5" fmla="*/ 2630714 h 3497943"/>
                  <a:gd name="connsiteX6" fmla="*/ 1379174 w 1394417"/>
                  <a:gd name="connsiteY6" fmla="*/ 3066143 h 3497943"/>
                  <a:gd name="connsiteX7" fmla="*/ 1081631 w 1394417"/>
                  <a:gd name="connsiteY7" fmla="*/ 3334657 h 3497943"/>
                  <a:gd name="connsiteX8" fmla="*/ 1357402 w 1394417"/>
                  <a:gd name="connsiteY8" fmla="*/ 3497943 h 3497943"/>
                  <a:gd name="connsiteX0" fmla="*/ 1226774 w 1394417"/>
                  <a:gd name="connsiteY0" fmla="*/ 0 h 3334657"/>
                  <a:gd name="connsiteX1" fmla="*/ 660717 w 1394417"/>
                  <a:gd name="connsiteY1" fmla="*/ 254000 h 3334657"/>
                  <a:gd name="connsiteX2" fmla="*/ 1299345 w 1394417"/>
                  <a:gd name="connsiteY2" fmla="*/ 635000 h 3334657"/>
                  <a:gd name="connsiteX3" fmla="*/ 317 w 1394417"/>
                  <a:gd name="connsiteY3" fmla="*/ 1157514 h 3334657"/>
                  <a:gd name="connsiteX4" fmla="*/ 1168717 w 1394417"/>
                  <a:gd name="connsiteY4" fmla="*/ 2028371 h 3334657"/>
                  <a:gd name="connsiteX5" fmla="*/ 504688 w 1394417"/>
                  <a:gd name="connsiteY5" fmla="*/ 2630714 h 3334657"/>
                  <a:gd name="connsiteX6" fmla="*/ 1379174 w 1394417"/>
                  <a:gd name="connsiteY6" fmla="*/ 3066143 h 3334657"/>
                  <a:gd name="connsiteX7" fmla="*/ 1081631 w 1394417"/>
                  <a:gd name="connsiteY7" fmla="*/ 3334657 h 333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4417" h="3334657">
                    <a:moveTo>
                      <a:pt x="1226774" y="0"/>
                    </a:moveTo>
                    <a:cubicBezTo>
                      <a:pt x="937698" y="74083"/>
                      <a:pt x="648622" y="148167"/>
                      <a:pt x="660717" y="254000"/>
                    </a:cubicBezTo>
                    <a:cubicBezTo>
                      <a:pt x="672812" y="359833"/>
                      <a:pt x="1409412" y="484414"/>
                      <a:pt x="1299345" y="635000"/>
                    </a:cubicBezTo>
                    <a:cubicBezTo>
                      <a:pt x="1189278" y="785586"/>
                      <a:pt x="22088" y="925286"/>
                      <a:pt x="317" y="1157514"/>
                    </a:cubicBezTo>
                    <a:cubicBezTo>
                      <a:pt x="-21454" y="1389742"/>
                      <a:pt x="1084655" y="1782838"/>
                      <a:pt x="1168717" y="2028371"/>
                    </a:cubicBezTo>
                    <a:cubicBezTo>
                      <a:pt x="1252779" y="2273904"/>
                      <a:pt x="469612" y="2457752"/>
                      <a:pt x="504688" y="2630714"/>
                    </a:cubicBezTo>
                    <a:cubicBezTo>
                      <a:pt x="539764" y="2803676"/>
                      <a:pt x="1283017" y="2948819"/>
                      <a:pt x="1379174" y="3066143"/>
                    </a:cubicBezTo>
                    <a:cubicBezTo>
                      <a:pt x="1475331" y="3183467"/>
                      <a:pt x="1085260" y="3262690"/>
                      <a:pt x="1081631" y="3334657"/>
                    </a:cubicBezTo>
                  </a:path>
                </a:pathLst>
              </a:custGeom>
              <a:noFill/>
              <a:ln>
                <a:solidFill>
                  <a:schemeClr val="bg1">
                    <a:alpha val="5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4" name="Group 133"/>
              <p:cNvGrpSpPr/>
              <p:nvPr/>
            </p:nvGrpSpPr>
            <p:grpSpPr>
              <a:xfrm>
                <a:off x="9659552" y="6255370"/>
                <a:ext cx="511804" cy="511804"/>
                <a:chOff x="3766458" y="4912364"/>
                <a:chExt cx="468086" cy="468086"/>
              </a:xfrm>
            </p:grpSpPr>
            <p:sp>
              <p:nvSpPr>
                <p:cNvPr id="146" name="Oval 145"/>
                <p:cNvSpPr/>
                <p:nvPr/>
              </p:nvSpPr>
              <p:spPr>
                <a:xfrm>
                  <a:off x="3766458" y="4912364"/>
                  <a:ext cx="468086" cy="468086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>
                <a:xfrm>
                  <a:off x="3860079" y="5005985"/>
                  <a:ext cx="280844" cy="280844"/>
                </a:xfrm>
                <a:prstGeom prst="ellipse">
                  <a:avLst/>
                </a:prstGeom>
                <a:noFill/>
                <a:ln w="28575">
                  <a:solidFill>
                    <a:schemeClr val="bg1">
                      <a:alpha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>
                <a:xfrm>
                  <a:off x="3959681" y="5105587"/>
                  <a:ext cx="81640" cy="81640"/>
                </a:xfrm>
                <a:prstGeom prst="ellipse">
                  <a:avLst/>
                </a:prstGeom>
                <a:solidFill>
                  <a:schemeClr val="bg1">
                    <a:alpha val="60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5" name="Oval 134"/>
              <p:cNvSpPr/>
              <p:nvPr/>
            </p:nvSpPr>
            <p:spPr>
              <a:xfrm>
                <a:off x="10019476" y="3733781"/>
                <a:ext cx="45719" cy="45719"/>
              </a:xfrm>
              <a:prstGeom prst="ellipse">
                <a:avLst/>
              </a:prstGeom>
              <a:solidFill>
                <a:schemeClr val="bg1">
                  <a:alpha val="7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 rot="18900000" flipH="1">
                <a:off x="9997674" y="4364464"/>
                <a:ext cx="1590444" cy="3184396"/>
                <a:chOff x="1113971" y="3497757"/>
                <a:chExt cx="1150258" cy="3142530"/>
              </a:xfrm>
            </p:grpSpPr>
            <p:sp>
              <p:nvSpPr>
                <p:cNvPr id="142" name="Freeform: Shape 141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3" name="Freeform: Shape 142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4" name="Freeform: Shape 143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5" name="Freeform: Shape 144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 rot="7200000" flipH="1" flipV="1">
                <a:off x="10907040" y="2618587"/>
                <a:ext cx="1590444" cy="2242188"/>
                <a:chOff x="1113971" y="3497757"/>
                <a:chExt cx="1150258" cy="3142530"/>
              </a:xfrm>
            </p:grpSpPr>
            <p:sp>
              <p:nvSpPr>
                <p:cNvPr id="138" name="Freeform: Shape 137"/>
                <p:cNvSpPr/>
                <p:nvPr/>
              </p:nvSpPr>
              <p:spPr>
                <a:xfrm>
                  <a:off x="1113971" y="3497944"/>
                  <a:ext cx="1150258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5025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732367" y="948871"/>
                        <a:pt x="848784" y="2375807"/>
                        <a:pt x="1150258" y="30661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39" name="Freeform: Shape 138"/>
                <p:cNvSpPr/>
                <p:nvPr/>
              </p:nvSpPr>
              <p:spPr>
                <a:xfrm>
                  <a:off x="1201058" y="3497943"/>
                  <a:ext cx="885371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  <a:gd name="connsiteX0" fmla="*/ 0 w 1013223"/>
                    <a:gd name="connsiteY0" fmla="*/ 3142343 h 3142343"/>
                    <a:gd name="connsiteX1" fmla="*/ 711200 w 1013223"/>
                    <a:gd name="connsiteY1" fmla="*/ 0 h 3142343"/>
                    <a:gd name="connsiteX2" fmla="*/ 1013223 w 1013223"/>
                    <a:gd name="connsiteY2" fmla="*/ 3077029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013223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91880" y="954314"/>
                        <a:pt x="820754" y="2288721"/>
                        <a:pt x="1013223" y="3077029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0" name="Freeform: Shape 139"/>
                <p:cNvSpPr/>
                <p:nvPr/>
              </p:nvSpPr>
              <p:spPr>
                <a:xfrm>
                  <a:off x="1527273" y="3498130"/>
                  <a:ext cx="296864" cy="3128736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711911"/>
                    <a:gd name="connsiteY0" fmla="*/ 3142343 h 3142343"/>
                    <a:gd name="connsiteX1" fmla="*/ 711200 w 711911"/>
                    <a:gd name="connsiteY1" fmla="*/ 0 h 3142343"/>
                    <a:gd name="connsiteX2" fmla="*/ 573840 w 711911"/>
                    <a:gd name="connsiteY2" fmla="*/ 3115128 h 3142343"/>
                    <a:gd name="connsiteX0" fmla="*/ 0 w 711199"/>
                    <a:gd name="connsiteY0" fmla="*/ 3142343 h 3142343"/>
                    <a:gd name="connsiteX1" fmla="*/ 711200 w 711199"/>
                    <a:gd name="connsiteY1" fmla="*/ 0 h 3142343"/>
                    <a:gd name="connsiteX2" fmla="*/ 573840 w 711199"/>
                    <a:gd name="connsiteY2" fmla="*/ 3115128 h 3142343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  <a:gd name="connsiteX0" fmla="*/ 0 w 610465"/>
                    <a:gd name="connsiteY0" fmla="*/ 3128736 h 3128736"/>
                    <a:gd name="connsiteX1" fmla="*/ 610466 w 610465"/>
                    <a:gd name="connsiteY1" fmla="*/ 0 h 3128736"/>
                    <a:gd name="connsiteX2" fmla="*/ 473106 w 610465"/>
                    <a:gd name="connsiteY2" fmla="*/ 3115128 h 3128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0465" h="3128736">
                      <a:moveTo>
                        <a:pt x="0" y="3128736"/>
                      </a:moveTo>
                      <a:cubicBezTo>
                        <a:pt x="58280" y="1629229"/>
                        <a:pt x="309899" y="524329"/>
                        <a:pt x="610466" y="0"/>
                      </a:cubicBezTo>
                      <a:cubicBezTo>
                        <a:pt x="402185" y="888999"/>
                        <a:pt x="171632" y="2424792"/>
                        <a:pt x="473106" y="3115128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41" name="Freeform: Shape 140"/>
                <p:cNvSpPr/>
                <p:nvPr/>
              </p:nvSpPr>
              <p:spPr>
                <a:xfrm>
                  <a:off x="1340028" y="3497757"/>
                  <a:ext cx="572960" cy="3142343"/>
                </a:xfrm>
                <a:custGeom>
                  <a:avLst/>
                  <a:gdLst>
                    <a:gd name="connsiteX0" fmla="*/ 0 w 1150258"/>
                    <a:gd name="connsiteY0" fmla="*/ 3142421 h 3142421"/>
                    <a:gd name="connsiteX1" fmla="*/ 711200 w 1150258"/>
                    <a:gd name="connsiteY1" fmla="*/ 78 h 3142421"/>
                    <a:gd name="connsiteX2" fmla="*/ 1150258 w 1150258"/>
                    <a:gd name="connsiteY2" fmla="*/ 3066221 h 3142421"/>
                    <a:gd name="connsiteX0" fmla="*/ 0 w 1150258"/>
                    <a:gd name="connsiteY0" fmla="*/ 3166407 h 3166407"/>
                    <a:gd name="connsiteX1" fmla="*/ 711200 w 1150258"/>
                    <a:gd name="connsiteY1" fmla="*/ 24064 h 3166407"/>
                    <a:gd name="connsiteX2" fmla="*/ 1150258 w 1150258"/>
                    <a:gd name="connsiteY2" fmla="*/ 3090207 h 3166407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3584 h 3143584"/>
                    <a:gd name="connsiteX1" fmla="*/ 711200 w 1150258"/>
                    <a:gd name="connsiteY1" fmla="*/ 1241 h 3143584"/>
                    <a:gd name="connsiteX2" fmla="*/ 1150258 w 1150258"/>
                    <a:gd name="connsiteY2" fmla="*/ 3067384 h 3143584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1150258"/>
                    <a:gd name="connsiteY0" fmla="*/ 3142343 h 3142343"/>
                    <a:gd name="connsiteX1" fmla="*/ 711200 w 1150258"/>
                    <a:gd name="connsiteY1" fmla="*/ 0 h 3142343"/>
                    <a:gd name="connsiteX2" fmla="*/ 1150258 w 1150258"/>
                    <a:gd name="connsiteY2" fmla="*/ 30661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  <a:gd name="connsiteX0" fmla="*/ 0 w 839308"/>
                    <a:gd name="connsiteY0" fmla="*/ 3142343 h 3142343"/>
                    <a:gd name="connsiteX1" fmla="*/ 711200 w 839308"/>
                    <a:gd name="connsiteY1" fmla="*/ 0 h 3142343"/>
                    <a:gd name="connsiteX2" fmla="*/ 839308 w 839308"/>
                    <a:gd name="connsiteY2" fmla="*/ 3104243 h 314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39308" h="3142343">
                      <a:moveTo>
                        <a:pt x="0" y="3142343"/>
                      </a:moveTo>
                      <a:cubicBezTo>
                        <a:pt x="259745" y="1577521"/>
                        <a:pt x="410633" y="524329"/>
                        <a:pt x="711200" y="0"/>
                      </a:cubicBezTo>
                      <a:cubicBezTo>
                        <a:pt x="640677" y="951593"/>
                        <a:pt x="661415" y="2389414"/>
                        <a:pt x="839308" y="3104243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alpha val="30000"/>
                    </a:schemeClr>
                  </a:solidFill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 userDrawn="1"/>
        </p:nvGrpSpPr>
        <p:grpSpPr>
          <a:xfrm rot="21444120" flipH="1">
            <a:off x="10234111" y="-501857"/>
            <a:ext cx="2326374" cy="4134470"/>
            <a:chOff x="-213066" y="2126266"/>
            <a:chExt cx="2326374" cy="4134470"/>
          </a:xfrm>
        </p:grpSpPr>
        <p:grpSp>
          <p:nvGrpSpPr>
            <p:cNvPr id="153" name="Group 152"/>
            <p:cNvGrpSpPr/>
            <p:nvPr/>
          </p:nvGrpSpPr>
          <p:grpSpPr>
            <a:xfrm rot="5400000">
              <a:off x="-1021470" y="3125958"/>
              <a:ext cx="4134470" cy="2135086"/>
              <a:chOff x="2108201" y="5087492"/>
              <a:chExt cx="4484244" cy="2408425"/>
            </a:xfrm>
          </p:grpSpPr>
          <p:sp>
            <p:nvSpPr>
              <p:cNvPr id="159" name="Freeform: Shape 158"/>
              <p:cNvSpPr/>
              <p:nvPr/>
            </p:nvSpPr>
            <p:spPr>
              <a:xfrm>
                <a:off x="2108202" y="5087492"/>
                <a:ext cx="4484243" cy="2291402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-1 h 2687149"/>
                  <a:gd name="connsiteX1" fmla="*/ 609599 w 5093842"/>
                  <a:gd name="connsiteY1" fmla="*/ 1897742 h 2687149"/>
                  <a:gd name="connsiteX2" fmla="*/ 1273628 w 5093842"/>
                  <a:gd name="connsiteY2" fmla="*/ 801913 h 2687149"/>
                  <a:gd name="connsiteX3" fmla="*/ 1759856 w 5093842"/>
                  <a:gd name="connsiteY3" fmla="*/ 1846942 h 2687149"/>
                  <a:gd name="connsiteX4" fmla="*/ 2224313 w 5093842"/>
                  <a:gd name="connsiteY4" fmla="*/ 1273627 h 2687149"/>
                  <a:gd name="connsiteX5" fmla="*/ 2539999 w 5093842"/>
                  <a:gd name="connsiteY5" fmla="*/ 1763485 h 2687149"/>
                  <a:gd name="connsiteX6" fmla="*/ 2935513 w 5093842"/>
                  <a:gd name="connsiteY6" fmla="*/ 399142 h 2687149"/>
                  <a:gd name="connsiteX7" fmla="*/ 3327399 w 5093842"/>
                  <a:gd name="connsiteY7" fmla="*/ 1357085 h 2687149"/>
                  <a:gd name="connsiteX8" fmla="*/ 3617685 w 5093842"/>
                  <a:gd name="connsiteY8" fmla="*/ 747485 h 2687149"/>
                  <a:gd name="connsiteX9" fmla="*/ 4056742 w 5093842"/>
                  <a:gd name="connsiteY9" fmla="*/ 1886856 h 2687149"/>
                  <a:gd name="connsiteX10" fmla="*/ 4542970 w 5093842"/>
                  <a:gd name="connsiteY10" fmla="*/ 928913 h 2687149"/>
                  <a:gd name="connsiteX11" fmla="*/ 5093842 w 5093842"/>
                  <a:gd name="connsiteY11" fmla="*/ 2687149 h 2687149"/>
                  <a:gd name="connsiteX0" fmla="*/ 0 w 4484243"/>
                  <a:gd name="connsiteY0" fmla="*/ 1501995 h 2291402"/>
                  <a:gd name="connsiteX1" fmla="*/ 664029 w 4484243"/>
                  <a:gd name="connsiteY1" fmla="*/ 406166 h 2291402"/>
                  <a:gd name="connsiteX2" fmla="*/ 1150257 w 4484243"/>
                  <a:gd name="connsiteY2" fmla="*/ 1451195 h 2291402"/>
                  <a:gd name="connsiteX3" fmla="*/ 1614714 w 4484243"/>
                  <a:gd name="connsiteY3" fmla="*/ 877880 h 2291402"/>
                  <a:gd name="connsiteX4" fmla="*/ 1930400 w 4484243"/>
                  <a:gd name="connsiteY4" fmla="*/ 1367738 h 2291402"/>
                  <a:gd name="connsiteX5" fmla="*/ 2325914 w 4484243"/>
                  <a:gd name="connsiteY5" fmla="*/ 3395 h 2291402"/>
                  <a:gd name="connsiteX6" fmla="*/ 2717800 w 4484243"/>
                  <a:gd name="connsiteY6" fmla="*/ 961338 h 2291402"/>
                  <a:gd name="connsiteX7" fmla="*/ 3008086 w 4484243"/>
                  <a:gd name="connsiteY7" fmla="*/ 351738 h 2291402"/>
                  <a:gd name="connsiteX8" fmla="*/ 3447143 w 4484243"/>
                  <a:gd name="connsiteY8" fmla="*/ 1491109 h 2291402"/>
                  <a:gd name="connsiteX9" fmla="*/ 3933371 w 4484243"/>
                  <a:gd name="connsiteY9" fmla="*/ 533166 h 2291402"/>
                  <a:gd name="connsiteX10" fmla="*/ 4484243 w 4484243"/>
                  <a:gd name="connsiteY10" fmla="*/ 2291402 h 2291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84243" h="2291402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0521" y="399784"/>
                      <a:pt x="3933371" y="533166"/>
                    </a:cubicBezTo>
                    <a:cubicBezTo>
                      <a:pt x="4106221" y="666548"/>
                      <a:pt x="4335773" y="1647633"/>
                      <a:pt x="4484243" y="2291402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Freeform: Shape 159"/>
              <p:cNvSpPr/>
              <p:nvPr/>
            </p:nvSpPr>
            <p:spPr>
              <a:xfrm>
                <a:off x="2108202" y="5531345"/>
                <a:ext cx="4445322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5820552"/>
                  <a:gd name="connsiteY0" fmla="*/ 1865099 h 2518602"/>
                  <a:gd name="connsiteX1" fmla="*/ 765629 w 5820552"/>
                  <a:gd name="connsiteY1" fmla="*/ 13 h 2518602"/>
                  <a:gd name="connsiteX2" fmla="*/ 1375229 w 5820552"/>
                  <a:gd name="connsiteY2" fmla="*/ 1897756 h 2518602"/>
                  <a:gd name="connsiteX3" fmla="*/ 2039258 w 5820552"/>
                  <a:gd name="connsiteY3" fmla="*/ 801927 h 2518602"/>
                  <a:gd name="connsiteX4" fmla="*/ 2525486 w 5820552"/>
                  <a:gd name="connsiteY4" fmla="*/ 1846956 h 2518602"/>
                  <a:gd name="connsiteX5" fmla="*/ 2989943 w 5820552"/>
                  <a:gd name="connsiteY5" fmla="*/ 1273641 h 2518602"/>
                  <a:gd name="connsiteX6" fmla="*/ 3305629 w 5820552"/>
                  <a:gd name="connsiteY6" fmla="*/ 1763499 h 2518602"/>
                  <a:gd name="connsiteX7" fmla="*/ 3701143 w 5820552"/>
                  <a:gd name="connsiteY7" fmla="*/ 399156 h 2518602"/>
                  <a:gd name="connsiteX8" fmla="*/ 4093029 w 5820552"/>
                  <a:gd name="connsiteY8" fmla="*/ 1357099 h 2518602"/>
                  <a:gd name="connsiteX9" fmla="*/ 4383315 w 5820552"/>
                  <a:gd name="connsiteY9" fmla="*/ 747499 h 2518602"/>
                  <a:gd name="connsiteX10" fmla="*/ 4822372 w 5820552"/>
                  <a:gd name="connsiteY10" fmla="*/ 1886870 h 2518602"/>
                  <a:gd name="connsiteX11" fmla="*/ 5308600 w 5820552"/>
                  <a:gd name="connsiteY11" fmla="*/ 928927 h 2518602"/>
                  <a:gd name="connsiteX12" fmla="*/ 5820552 w 5820552"/>
                  <a:gd name="connsiteY12" fmla="*/ 2518602 h 2518602"/>
                  <a:gd name="connsiteX0" fmla="*/ 0 w 5054923"/>
                  <a:gd name="connsiteY0" fmla="*/ 0 h 2518589"/>
                  <a:gd name="connsiteX1" fmla="*/ 609600 w 5054923"/>
                  <a:gd name="connsiteY1" fmla="*/ 1897743 h 2518589"/>
                  <a:gd name="connsiteX2" fmla="*/ 1273629 w 5054923"/>
                  <a:gd name="connsiteY2" fmla="*/ 801914 h 2518589"/>
                  <a:gd name="connsiteX3" fmla="*/ 1759857 w 5054923"/>
                  <a:gd name="connsiteY3" fmla="*/ 1846943 h 2518589"/>
                  <a:gd name="connsiteX4" fmla="*/ 2224314 w 5054923"/>
                  <a:gd name="connsiteY4" fmla="*/ 1273628 h 2518589"/>
                  <a:gd name="connsiteX5" fmla="*/ 2540000 w 5054923"/>
                  <a:gd name="connsiteY5" fmla="*/ 1763486 h 2518589"/>
                  <a:gd name="connsiteX6" fmla="*/ 2935514 w 5054923"/>
                  <a:gd name="connsiteY6" fmla="*/ 399143 h 2518589"/>
                  <a:gd name="connsiteX7" fmla="*/ 3327400 w 5054923"/>
                  <a:gd name="connsiteY7" fmla="*/ 1357086 h 2518589"/>
                  <a:gd name="connsiteX8" fmla="*/ 3617686 w 5054923"/>
                  <a:gd name="connsiteY8" fmla="*/ 747486 h 2518589"/>
                  <a:gd name="connsiteX9" fmla="*/ 4056743 w 5054923"/>
                  <a:gd name="connsiteY9" fmla="*/ 1886857 h 2518589"/>
                  <a:gd name="connsiteX10" fmla="*/ 4542971 w 5054923"/>
                  <a:gd name="connsiteY10" fmla="*/ 928914 h 2518589"/>
                  <a:gd name="connsiteX11" fmla="*/ 5054923 w 5054923"/>
                  <a:gd name="connsiteY11" fmla="*/ 2518589 h 2518589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45323" h="2122841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67008" y="427877"/>
                      <a:pt x="3933371" y="533166"/>
                    </a:cubicBezTo>
                    <a:cubicBezTo>
                      <a:pt x="4099734" y="638455"/>
                      <a:pt x="4296853" y="1479072"/>
                      <a:pt x="4445323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Freeform: Shape 160"/>
              <p:cNvSpPr/>
              <p:nvPr/>
            </p:nvSpPr>
            <p:spPr>
              <a:xfrm>
                <a:off x="2108201" y="6195930"/>
                <a:ext cx="4386943" cy="1220173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3">
                    <a:moveTo>
                      <a:pt x="0" y="1501995"/>
                    </a:moveTo>
                    <a:cubicBezTo>
                      <a:pt x="212272" y="1635647"/>
                      <a:pt x="472320" y="414633"/>
                      <a:pt x="664029" y="406166"/>
                    </a:cubicBezTo>
                    <a:cubicBezTo>
                      <a:pt x="855738" y="397699"/>
                      <a:pt x="991810" y="1372576"/>
                      <a:pt x="1150257" y="1451195"/>
                    </a:cubicBezTo>
                    <a:cubicBezTo>
                      <a:pt x="1308704" y="1529814"/>
                      <a:pt x="1484690" y="891789"/>
                      <a:pt x="1614714" y="877880"/>
                    </a:cubicBezTo>
                    <a:cubicBezTo>
                      <a:pt x="1744738" y="863971"/>
                      <a:pt x="1811867" y="1513486"/>
                      <a:pt x="1930400" y="1367738"/>
                    </a:cubicBezTo>
                    <a:cubicBezTo>
                      <a:pt x="2048933" y="1221991"/>
                      <a:pt x="2194681" y="71128"/>
                      <a:pt x="2325914" y="3395"/>
                    </a:cubicBezTo>
                    <a:cubicBezTo>
                      <a:pt x="2457147" y="-64338"/>
                      <a:pt x="2604105" y="903281"/>
                      <a:pt x="2717800" y="961338"/>
                    </a:cubicBezTo>
                    <a:cubicBezTo>
                      <a:pt x="2831495" y="1019395"/>
                      <a:pt x="2886529" y="263443"/>
                      <a:pt x="3008086" y="351738"/>
                    </a:cubicBezTo>
                    <a:cubicBezTo>
                      <a:pt x="3129643" y="440033"/>
                      <a:pt x="3292929" y="1460871"/>
                      <a:pt x="3447143" y="1491109"/>
                    </a:cubicBezTo>
                    <a:cubicBezTo>
                      <a:pt x="3601357" y="1521347"/>
                      <a:pt x="3776738" y="467247"/>
                      <a:pt x="3933371" y="533166"/>
                    </a:cubicBezTo>
                    <a:cubicBezTo>
                      <a:pt x="4090004" y="599085"/>
                      <a:pt x="4238473" y="1242854"/>
                      <a:pt x="43869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Freeform: Shape 161"/>
              <p:cNvSpPr/>
              <p:nvPr/>
            </p:nvSpPr>
            <p:spPr>
              <a:xfrm>
                <a:off x="2108201" y="6633272"/>
                <a:ext cx="4386943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0 w 4996543"/>
                  <a:gd name="connsiteY0" fmla="*/ 1 h 2282372"/>
                  <a:gd name="connsiteX1" fmla="*/ 609600 w 4996543"/>
                  <a:gd name="connsiteY1" fmla="*/ 1897744 h 2282372"/>
                  <a:gd name="connsiteX2" fmla="*/ 1273629 w 4996543"/>
                  <a:gd name="connsiteY2" fmla="*/ 801915 h 2282372"/>
                  <a:gd name="connsiteX3" fmla="*/ 1759857 w 4996543"/>
                  <a:gd name="connsiteY3" fmla="*/ 1846944 h 2282372"/>
                  <a:gd name="connsiteX4" fmla="*/ 2224314 w 4996543"/>
                  <a:gd name="connsiteY4" fmla="*/ 1273629 h 2282372"/>
                  <a:gd name="connsiteX5" fmla="*/ 2540000 w 4996543"/>
                  <a:gd name="connsiteY5" fmla="*/ 1763487 h 2282372"/>
                  <a:gd name="connsiteX6" fmla="*/ 2935514 w 4996543"/>
                  <a:gd name="connsiteY6" fmla="*/ 399144 h 2282372"/>
                  <a:gd name="connsiteX7" fmla="*/ 3327400 w 4996543"/>
                  <a:gd name="connsiteY7" fmla="*/ 1357087 h 2282372"/>
                  <a:gd name="connsiteX8" fmla="*/ 3617686 w 4996543"/>
                  <a:gd name="connsiteY8" fmla="*/ 747487 h 2282372"/>
                  <a:gd name="connsiteX9" fmla="*/ 4056743 w 4996543"/>
                  <a:gd name="connsiteY9" fmla="*/ 1886858 h 2282372"/>
                  <a:gd name="connsiteX10" fmla="*/ 4542971 w 4996543"/>
                  <a:gd name="connsiteY10" fmla="*/ 928915 h 2282372"/>
                  <a:gd name="connsiteX11" fmla="*/ 4996543 w 4996543"/>
                  <a:gd name="connsiteY11" fmla="*/ 2282372 h 2282372"/>
                  <a:gd name="connsiteX0" fmla="*/ 0 w 4386943"/>
                  <a:gd name="connsiteY0" fmla="*/ 1501996 h 1886624"/>
                  <a:gd name="connsiteX1" fmla="*/ 664029 w 4386943"/>
                  <a:gd name="connsiteY1" fmla="*/ 406167 h 1886624"/>
                  <a:gd name="connsiteX2" fmla="*/ 1150257 w 4386943"/>
                  <a:gd name="connsiteY2" fmla="*/ 1451196 h 1886624"/>
                  <a:gd name="connsiteX3" fmla="*/ 1614714 w 4386943"/>
                  <a:gd name="connsiteY3" fmla="*/ 877881 h 1886624"/>
                  <a:gd name="connsiteX4" fmla="*/ 1930400 w 4386943"/>
                  <a:gd name="connsiteY4" fmla="*/ 1367739 h 1886624"/>
                  <a:gd name="connsiteX5" fmla="*/ 2325914 w 4386943"/>
                  <a:gd name="connsiteY5" fmla="*/ 3396 h 1886624"/>
                  <a:gd name="connsiteX6" fmla="*/ 2717800 w 4386943"/>
                  <a:gd name="connsiteY6" fmla="*/ 961339 h 1886624"/>
                  <a:gd name="connsiteX7" fmla="*/ 3008086 w 4386943"/>
                  <a:gd name="connsiteY7" fmla="*/ 351739 h 1886624"/>
                  <a:gd name="connsiteX8" fmla="*/ 3447143 w 4386943"/>
                  <a:gd name="connsiteY8" fmla="*/ 1491110 h 1886624"/>
                  <a:gd name="connsiteX9" fmla="*/ 3933371 w 4386943"/>
                  <a:gd name="connsiteY9" fmla="*/ 533167 h 1886624"/>
                  <a:gd name="connsiteX10" fmla="*/ 4386943 w 4386943"/>
                  <a:gd name="connsiteY10" fmla="*/ 1886624 h 18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86943" h="1886624">
                    <a:moveTo>
                      <a:pt x="0" y="1501996"/>
                    </a:moveTo>
                    <a:cubicBezTo>
                      <a:pt x="212272" y="1635648"/>
                      <a:pt x="472320" y="414634"/>
                      <a:pt x="664029" y="406167"/>
                    </a:cubicBezTo>
                    <a:cubicBezTo>
                      <a:pt x="855738" y="397700"/>
                      <a:pt x="991810" y="1372577"/>
                      <a:pt x="1150257" y="1451196"/>
                    </a:cubicBezTo>
                    <a:cubicBezTo>
                      <a:pt x="1308704" y="1529815"/>
                      <a:pt x="1484690" y="891790"/>
                      <a:pt x="1614714" y="877881"/>
                    </a:cubicBezTo>
                    <a:cubicBezTo>
                      <a:pt x="1744738" y="863972"/>
                      <a:pt x="1811867" y="1513487"/>
                      <a:pt x="1930400" y="1367739"/>
                    </a:cubicBezTo>
                    <a:cubicBezTo>
                      <a:pt x="2048933" y="1221992"/>
                      <a:pt x="2194681" y="71129"/>
                      <a:pt x="2325914" y="3396"/>
                    </a:cubicBezTo>
                    <a:cubicBezTo>
                      <a:pt x="2457147" y="-64337"/>
                      <a:pt x="2604105" y="903282"/>
                      <a:pt x="2717800" y="961339"/>
                    </a:cubicBezTo>
                    <a:cubicBezTo>
                      <a:pt x="2831495" y="1019396"/>
                      <a:pt x="2886529" y="263444"/>
                      <a:pt x="3008086" y="351739"/>
                    </a:cubicBezTo>
                    <a:cubicBezTo>
                      <a:pt x="3129643" y="440034"/>
                      <a:pt x="3292929" y="1460872"/>
                      <a:pt x="3447143" y="1491110"/>
                    </a:cubicBezTo>
                    <a:cubicBezTo>
                      <a:pt x="3601357" y="1521348"/>
                      <a:pt x="3776738" y="467248"/>
                      <a:pt x="3933371" y="533167"/>
                    </a:cubicBezTo>
                    <a:cubicBezTo>
                      <a:pt x="4090004" y="599086"/>
                      <a:pt x="4238473" y="1242855"/>
                      <a:pt x="4386943" y="1886624"/>
                    </a:cubicBezTo>
                  </a:path>
                </a:pathLst>
              </a:custGeom>
              <a:noFill/>
              <a:ln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 rot="5400000">
              <a:off x="-972652" y="3077916"/>
              <a:ext cx="2967991" cy="1448820"/>
              <a:chOff x="2772230" y="5087490"/>
              <a:chExt cx="3820215" cy="2408427"/>
            </a:xfrm>
          </p:grpSpPr>
          <p:sp>
            <p:nvSpPr>
              <p:cNvPr id="155" name="Freeform: Shape 154"/>
              <p:cNvSpPr/>
              <p:nvPr/>
            </p:nvSpPr>
            <p:spPr>
              <a:xfrm>
                <a:off x="2772230" y="5087490"/>
                <a:ext cx="3820215" cy="2291400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625100"/>
                  <a:gd name="connsiteY0" fmla="*/ 1190184 h 2687163"/>
                  <a:gd name="connsiteX1" fmla="*/ 765628 w 6625100"/>
                  <a:gd name="connsiteY1" fmla="*/ 1865099 h 2687163"/>
                  <a:gd name="connsiteX2" fmla="*/ 1531257 w 6625100"/>
                  <a:gd name="connsiteY2" fmla="*/ 13 h 2687163"/>
                  <a:gd name="connsiteX3" fmla="*/ 2140857 w 6625100"/>
                  <a:gd name="connsiteY3" fmla="*/ 1897756 h 2687163"/>
                  <a:gd name="connsiteX4" fmla="*/ 2804886 w 6625100"/>
                  <a:gd name="connsiteY4" fmla="*/ 801927 h 2687163"/>
                  <a:gd name="connsiteX5" fmla="*/ 3291114 w 6625100"/>
                  <a:gd name="connsiteY5" fmla="*/ 1846956 h 2687163"/>
                  <a:gd name="connsiteX6" fmla="*/ 3755571 w 6625100"/>
                  <a:gd name="connsiteY6" fmla="*/ 1273641 h 2687163"/>
                  <a:gd name="connsiteX7" fmla="*/ 4071257 w 6625100"/>
                  <a:gd name="connsiteY7" fmla="*/ 1763499 h 2687163"/>
                  <a:gd name="connsiteX8" fmla="*/ 4466771 w 6625100"/>
                  <a:gd name="connsiteY8" fmla="*/ 399156 h 2687163"/>
                  <a:gd name="connsiteX9" fmla="*/ 4858657 w 6625100"/>
                  <a:gd name="connsiteY9" fmla="*/ 1357099 h 2687163"/>
                  <a:gd name="connsiteX10" fmla="*/ 5148943 w 6625100"/>
                  <a:gd name="connsiteY10" fmla="*/ 747499 h 2687163"/>
                  <a:gd name="connsiteX11" fmla="*/ 5588000 w 6625100"/>
                  <a:gd name="connsiteY11" fmla="*/ 1886870 h 2687163"/>
                  <a:gd name="connsiteX12" fmla="*/ 6074228 w 6625100"/>
                  <a:gd name="connsiteY12" fmla="*/ 928927 h 2687163"/>
                  <a:gd name="connsiteX13" fmla="*/ 6625100 w 6625100"/>
                  <a:gd name="connsiteY13" fmla="*/ 2687163 h 2687163"/>
                  <a:gd name="connsiteX0" fmla="*/ 0 w 5859472"/>
                  <a:gd name="connsiteY0" fmla="*/ 1865099 h 2687163"/>
                  <a:gd name="connsiteX1" fmla="*/ 765629 w 5859472"/>
                  <a:gd name="connsiteY1" fmla="*/ 13 h 2687163"/>
                  <a:gd name="connsiteX2" fmla="*/ 1375229 w 5859472"/>
                  <a:gd name="connsiteY2" fmla="*/ 1897756 h 2687163"/>
                  <a:gd name="connsiteX3" fmla="*/ 2039258 w 5859472"/>
                  <a:gd name="connsiteY3" fmla="*/ 801927 h 2687163"/>
                  <a:gd name="connsiteX4" fmla="*/ 2525486 w 5859472"/>
                  <a:gd name="connsiteY4" fmla="*/ 1846956 h 2687163"/>
                  <a:gd name="connsiteX5" fmla="*/ 2989943 w 5859472"/>
                  <a:gd name="connsiteY5" fmla="*/ 1273641 h 2687163"/>
                  <a:gd name="connsiteX6" fmla="*/ 3305629 w 5859472"/>
                  <a:gd name="connsiteY6" fmla="*/ 1763499 h 2687163"/>
                  <a:gd name="connsiteX7" fmla="*/ 3701143 w 5859472"/>
                  <a:gd name="connsiteY7" fmla="*/ 399156 h 2687163"/>
                  <a:gd name="connsiteX8" fmla="*/ 4093029 w 5859472"/>
                  <a:gd name="connsiteY8" fmla="*/ 1357099 h 2687163"/>
                  <a:gd name="connsiteX9" fmla="*/ 4383315 w 5859472"/>
                  <a:gd name="connsiteY9" fmla="*/ 747499 h 2687163"/>
                  <a:gd name="connsiteX10" fmla="*/ 4822372 w 5859472"/>
                  <a:gd name="connsiteY10" fmla="*/ 1886870 h 2687163"/>
                  <a:gd name="connsiteX11" fmla="*/ 5308600 w 5859472"/>
                  <a:gd name="connsiteY11" fmla="*/ 928927 h 2687163"/>
                  <a:gd name="connsiteX12" fmla="*/ 5859472 w 5859472"/>
                  <a:gd name="connsiteY12" fmla="*/ 2687163 h 2687163"/>
                  <a:gd name="connsiteX0" fmla="*/ -1 w 5093842"/>
                  <a:gd name="connsiteY0" fmla="*/ 0 h 2687150"/>
                  <a:gd name="connsiteX1" fmla="*/ 609599 w 5093842"/>
                  <a:gd name="connsiteY1" fmla="*/ 1897743 h 2687150"/>
                  <a:gd name="connsiteX2" fmla="*/ 1273628 w 5093842"/>
                  <a:gd name="connsiteY2" fmla="*/ 801914 h 2687150"/>
                  <a:gd name="connsiteX3" fmla="*/ 1759856 w 5093842"/>
                  <a:gd name="connsiteY3" fmla="*/ 1846943 h 2687150"/>
                  <a:gd name="connsiteX4" fmla="*/ 2224313 w 5093842"/>
                  <a:gd name="connsiteY4" fmla="*/ 1273628 h 2687150"/>
                  <a:gd name="connsiteX5" fmla="*/ 2539999 w 5093842"/>
                  <a:gd name="connsiteY5" fmla="*/ 1763486 h 2687150"/>
                  <a:gd name="connsiteX6" fmla="*/ 2935513 w 5093842"/>
                  <a:gd name="connsiteY6" fmla="*/ 399143 h 2687150"/>
                  <a:gd name="connsiteX7" fmla="*/ 3327399 w 5093842"/>
                  <a:gd name="connsiteY7" fmla="*/ 1357086 h 2687150"/>
                  <a:gd name="connsiteX8" fmla="*/ 3617685 w 5093842"/>
                  <a:gd name="connsiteY8" fmla="*/ 747486 h 2687150"/>
                  <a:gd name="connsiteX9" fmla="*/ 4056742 w 5093842"/>
                  <a:gd name="connsiteY9" fmla="*/ 1886857 h 2687150"/>
                  <a:gd name="connsiteX10" fmla="*/ 4542970 w 5093842"/>
                  <a:gd name="connsiteY10" fmla="*/ 928914 h 2687150"/>
                  <a:gd name="connsiteX11" fmla="*/ 5093842 w 5093842"/>
                  <a:gd name="connsiteY11" fmla="*/ 2687150 h 2687150"/>
                  <a:gd name="connsiteX0" fmla="*/ 0 w 4484243"/>
                  <a:gd name="connsiteY0" fmla="*/ 1501996 h 2291403"/>
                  <a:gd name="connsiteX1" fmla="*/ 664029 w 4484243"/>
                  <a:gd name="connsiteY1" fmla="*/ 406167 h 2291403"/>
                  <a:gd name="connsiteX2" fmla="*/ 1150257 w 4484243"/>
                  <a:gd name="connsiteY2" fmla="*/ 1451196 h 2291403"/>
                  <a:gd name="connsiteX3" fmla="*/ 1614714 w 4484243"/>
                  <a:gd name="connsiteY3" fmla="*/ 877881 h 2291403"/>
                  <a:gd name="connsiteX4" fmla="*/ 1930400 w 4484243"/>
                  <a:gd name="connsiteY4" fmla="*/ 1367739 h 2291403"/>
                  <a:gd name="connsiteX5" fmla="*/ 2325914 w 4484243"/>
                  <a:gd name="connsiteY5" fmla="*/ 3396 h 2291403"/>
                  <a:gd name="connsiteX6" fmla="*/ 2717800 w 4484243"/>
                  <a:gd name="connsiteY6" fmla="*/ 961339 h 2291403"/>
                  <a:gd name="connsiteX7" fmla="*/ 3008086 w 4484243"/>
                  <a:gd name="connsiteY7" fmla="*/ 351739 h 2291403"/>
                  <a:gd name="connsiteX8" fmla="*/ 3447143 w 4484243"/>
                  <a:gd name="connsiteY8" fmla="*/ 1491110 h 2291403"/>
                  <a:gd name="connsiteX9" fmla="*/ 3933371 w 4484243"/>
                  <a:gd name="connsiteY9" fmla="*/ 533167 h 2291403"/>
                  <a:gd name="connsiteX10" fmla="*/ 4484243 w 4484243"/>
                  <a:gd name="connsiteY10" fmla="*/ 2291403 h 2291403"/>
                  <a:gd name="connsiteX0" fmla="*/ 0 w 3820214"/>
                  <a:gd name="connsiteY0" fmla="*/ 406165 h 2291401"/>
                  <a:gd name="connsiteX1" fmla="*/ 486228 w 3820214"/>
                  <a:gd name="connsiteY1" fmla="*/ 1451194 h 2291401"/>
                  <a:gd name="connsiteX2" fmla="*/ 950685 w 3820214"/>
                  <a:gd name="connsiteY2" fmla="*/ 877879 h 2291401"/>
                  <a:gd name="connsiteX3" fmla="*/ 1266371 w 3820214"/>
                  <a:gd name="connsiteY3" fmla="*/ 1367737 h 2291401"/>
                  <a:gd name="connsiteX4" fmla="*/ 1661885 w 3820214"/>
                  <a:gd name="connsiteY4" fmla="*/ 3394 h 2291401"/>
                  <a:gd name="connsiteX5" fmla="*/ 2053771 w 3820214"/>
                  <a:gd name="connsiteY5" fmla="*/ 961337 h 2291401"/>
                  <a:gd name="connsiteX6" fmla="*/ 2344057 w 3820214"/>
                  <a:gd name="connsiteY6" fmla="*/ 351737 h 2291401"/>
                  <a:gd name="connsiteX7" fmla="*/ 2783114 w 3820214"/>
                  <a:gd name="connsiteY7" fmla="*/ 1491108 h 2291401"/>
                  <a:gd name="connsiteX8" fmla="*/ 3269342 w 3820214"/>
                  <a:gd name="connsiteY8" fmla="*/ 533165 h 2291401"/>
                  <a:gd name="connsiteX9" fmla="*/ 3820214 w 3820214"/>
                  <a:gd name="connsiteY9" fmla="*/ 2291401 h 2291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20214" h="2291401">
                    <a:moveTo>
                      <a:pt x="0" y="406165"/>
                    </a:moveTo>
                    <a:cubicBezTo>
                      <a:pt x="191709" y="397698"/>
                      <a:pt x="327781" y="1372575"/>
                      <a:pt x="486228" y="1451194"/>
                    </a:cubicBezTo>
                    <a:cubicBezTo>
                      <a:pt x="644675" y="1529813"/>
                      <a:pt x="820661" y="891788"/>
                      <a:pt x="950685" y="877879"/>
                    </a:cubicBezTo>
                    <a:cubicBezTo>
                      <a:pt x="1080709" y="863970"/>
                      <a:pt x="1147838" y="1513485"/>
                      <a:pt x="1266371" y="1367737"/>
                    </a:cubicBezTo>
                    <a:cubicBezTo>
                      <a:pt x="1384904" y="1221990"/>
                      <a:pt x="1530652" y="71127"/>
                      <a:pt x="1661885" y="3394"/>
                    </a:cubicBezTo>
                    <a:cubicBezTo>
                      <a:pt x="1793118" y="-64339"/>
                      <a:pt x="1940076" y="903280"/>
                      <a:pt x="2053771" y="961337"/>
                    </a:cubicBezTo>
                    <a:cubicBezTo>
                      <a:pt x="2167466" y="1019394"/>
                      <a:pt x="2222500" y="263442"/>
                      <a:pt x="2344057" y="351737"/>
                    </a:cubicBezTo>
                    <a:cubicBezTo>
                      <a:pt x="2465614" y="440032"/>
                      <a:pt x="2628900" y="1460870"/>
                      <a:pt x="2783114" y="1491108"/>
                    </a:cubicBezTo>
                    <a:cubicBezTo>
                      <a:pt x="2937328" y="1521346"/>
                      <a:pt x="3096492" y="399783"/>
                      <a:pt x="3269342" y="533165"/>
                    </a:cubicBezTo>
                    <a:cubicBezTo>
                      <a:pt x="3442192" y="666547"/>
                      <a:pt x="3671744" y="1647632"/>
                      <a:pt x="3820214" y="229140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Freeform: Shape 155"/>
              <p:cNvSpPr/>
              <p:nvPr/>
            </p:nvSpPr>
            <p:spPr>
              <a:xfrm>
                <a:off x="2772230" y="5531340"/>
                <a:ext cx="3781294" cy="1864309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86180"/>
                  <a:gd name="connsiteY0" fmla="*/ 1190184 h 2518602"/>
                  <a:gd name="connsiteX1" fmla="*/ 765628 w 6586180"/>
                  <a:gd name="connsiteY1" fmla="*/ 1865099 h 2518602"/>
                  <a:gd name="connsiteX2" fmla="*/ 1531257 w 6586180"/>
                  <a:gd name="connsiteY2" fmla="*/ 13 h 2518602"/>
                  <a:gd name="connsiteX3" fmla="*/ 2140857 w 6586180"/>
                  <a:gd name="connsiteY3" fmla="*/ 1897756 h 2518602"/>
                  <a:gd name="connsiteX4" fmla="*/ 2804886 w 6586180"/>
                  <a:gd name="connsiteY4" fmla="*/ 801927 h 2518602"/>
                  <a:gd name="connsiteX5" fmla="*/ 3291114 w 6586180"/>
                  <a:gd name="connsiteY5" fmla="*/ 1846956 h 2518602"/>
                  <a:gd name="connsiteX6" fmla="*/ 3755571 w 6586180"/>
                  <a:gd name="connsiteY6" fmla="*/ 1273641 h 2518602"/>
                  <a:gd name="connsiteX7" fmla="*/ 4071257 w 6586180"/>
                  <a:gd name="connsiteY7" fmla="*/ 1763499 h 2518602"/>
                  <a:gd name="connsiteX8" fmla="*/ 4466771 w 6586180"/>
                  <a:gd name="connsiteY8" fmla="*/ 399156 h 2518602"/>
                  <a:gd name="connsiteX9" fmla="*/ 4858657 w 6586180"/>
                  <a:gd name="connsiteY9" fmla="*/ 1357099 h 2518602"/>
                  <a:gd name="connsiteX10" fmla="*/ 5148943 w 6586180"/>
                  <a:gd name="connsiteY10" fmla="*/ 747499 h 2518602"/>
                  <a:gd name="connsiteX11" fmla="*/ 5588000 w 6586180"/>
                  <a:gd name="connsiteY11" fmla="*/ 1886870 h 2518602"/>
                  <a:gd name="connsiteX12" fmla="*/ 6074228 w 6586180"/>
                  <a:gd name="connsiteY12" fmla="*/ 928927 h 2518602"/>
                  <a:gd name="connsiteX13" fmla="*/ 6586180 w 6586180"/>
                  <a:gd name="connsiteY13" fmla="*/ 2518602 h 2518602"/>
                  <a:gd name="connsiteX0" fmla="*/ 0 w 6586180"/>
                  <a:gd name="connsiteY0" fmla="*/ 794423 h 2122841"/>
                  <a:gd name="connsiteX1" fmla="*/ 765628 w 6586180"/>
                  <a:gd name="connsiteY1" fmla="*/ 1469338 h 2122841"/>
                  <a:gd name="connsiteX2" fmla="*/ 2140857 w 6586180"/>
                  <a:gd name="connsiteY2" fmla="*/ 1501995 h 2122841"/>
                  <a:gd name="connsiteX3" fmla="*/ 2804886 w 6586180"/>
                  <a:gd name="connsiteY3" fmla="*/ 406166 h 2122841"/>
                  <a:gd name="connsiteX4" fmla="*/ 3291114 w 6586180"/>
                  <a:gd name="connsiteY4" fmla="*/ 1451195 h 2122841"/>
                  <a:gd name="connsiteX5" fmla="*/ 3755571 w 6586180"/>
                  <a:gd name="connsiteY5" fmla="*/ 877880 h 2122841"/>
                  <a:gd name="connsiteX6" fmla="*/ 4071257 w 6586180"/>
                  <a:gd name="connsiteY6" fmla="*/ 1367738 h 2122841"/>
                  <a:gd name="connsiteX7" fmla="*/ 4466771 w 6586180"/>
                  <a:gd name="connsiteY7" fmla="*/ 3395 h 2122841"/>
                  <a:gd name="connsiteX8" fmla="*/ 4858657 w 6586180"/>
                  <a:gd name="connsiteY8" fmla="*/ 961338 h 2122841"/>
                  <a:gd name="connsiteX9" fmla="*/ 5148943 w 6586180"/>
                  <a:gd name="connsiteY9" fmla="*/ 351738 h 2122841"/>
                  <a:gd name="connsiteX10" fmla="*/ 5588000 w 6586180"/>
                  <a:gd name="connsiteY10" fmla="*/ 1491109 h 2122841"/>
                  <a:gd name="connsiteX11" fmla="*/ 6074228 w 6586180"/>
                  <a:gd name="connsiteY11" fmla="*/ 533166 h 2122841"/>
                  <a:gd name="connsiteX12" fmla="*/ 6586180 w 6586180"/>
                  <a:gd name="connsiteY12" fmla="*/ 2122841 h 2122841"/>
                  <a:gd name="connsiteX0" fmla="*/ 0 w 6586180"/>
                  <a:gd name="connsiteY0" fmla="*/ 794423 h 2122841"/>
                  <a:gd name="connsiteX1" fmla="*/ 2140857 w 6586180"/>
                  <a:gd name="connsiteY1" fmla="*/ 1501995 h 2122841"/>
                  <a:gd name="connsiteX2" fmla="*/ 2804886 w 6586180"/>
                  <a:gd name="connsiteY2" fmla="*/ 406166 h 2122841"/>
                  <a:gd name="connsiteX3" fmla="*/ 3291114 w 6586180"/>
                  <a:gd name="connsiteY3" fmla="*/ 1451195 h 2122841"/>
                  <a:gd name="connsiteX4" fmla="*/ 3755571 w 6586180"/>
                  <a:gd name="connsiteY4" fmla="*/ 877880 h 2122841"/>
                  <a:gd name="connsiteX5" fmla="*/ 4071257 w 6586180"/>
                  <a:gd name="connsiteY5" fmla="*/ 1367738 h 2122841"/>
                  <a:gd name="connsiteX6" fmla="*/ 4466771 w 6586180"/>
                  <a:gd name="connsiteY6" fmla="*/ 3395 h 2122841"/>
                  <a:gd name="connsiteX7" fmla="*/ 4858657 w 6586180"/>
                  <a:gd name="connsiteY7" fmla="*/ 961338 h 2122841"/>
                  <a:gd name="connsiteX8" fmla="*/ 5148943 w 6586180"/>
                  <a:gd name="connsiteY8" fmla="*/ 351738 h 2122841"/>
                  <a:gd name="connsiteX9" fmla="*/ 5588000 w 6586180"/>
                  <a:gd name="connsiteY9" fmla="*/ 1491109 h 2122841"/>
                  <a:gd name="connsiteX10" fmla="*/ 6074228 w 6586180"/>
                  <a:gd name="connsiteY10" fmla="*/ 533166 h 2122841"/>
                  <a:gd name="connsiteX11" fmla="*/ 6586180 w 6586180"/>
                  <a:gd name="connsiteY11" fmla="*/ 2122841 h 2122841"/>
                  <a:gd name="connsiteX0" fmla="*/ 0 w 4445323"/>
                  <a:gd name="connsiteY0" fmla="*/ 1501995 h 2122841"/>
                  <a:gd name="connsiteX1" fmla="*/ 664029 w 4445323"/>
                  <a:gd name="connsiteY1" fmla="*/ 406166 h 2122841"/>
                  <a:gd name="connsiteX2" fmla="*/ 1150257 w 4445323"/>
                  <a:gd name="connsiteY2" fmla="*/ 1451195 h 2122841"/>
                  <a:gd name="connsiteX3" fmla="*/ 1614714 w 4445323"/>
                  <a:gd name="connsiteY3" fmla="*/ 877880 h 2122841"/>
                  <a:gd name="connsiteX4" fmla="*/ 1930400 w 4445323"/>
                  <a:gd name="connsiteY4" fmla="*/ 1367738 h 2122841"/>
                  <a:gd name="connsiteX5" fmla="*/ 2325914 w 4445323"/>
                  <a:gd name="connsiteY5" fmla="*/ 3395 h 2122841"/>
                  <a:gd name="connsiteX6" fmla="*/ 2717800 w 4445323"/>
                  <a:gd name="connsiteY6" fmla="*/ 961338 h 2122841"/>
                  <a:gd name="connsiteX7" fmla="*/ 3008086 w 4445323"/>
                  <a:gd name="connsiteY7" fmla="*/ 351738 h 2122841"/>
                  <a:gd name="connsiteX8" fmla="*/ 3447143 w 4445323"/>
                  <a:gd name="connsiteY8" fmla="*/ 1491109 h 2122841"/>
                  <a:gd name="connsiteX9" fmla="*/ 3933371 w 4445323"/>
                  <a:gd name="connsiteY9" fmla="*/ 533166 h 2122841"/>
                  <a:gd name="connsiteX10" fmla="*/ 4445323 w 4445323"/>
                  <a:gd name="connsiteY10" fmla="*/ 2122841 h 2122841"/>
                  <a:gd name="connsiteX0" fmla="*/ 0 w 3781294"/>
                  <a:gd name="connsiteY0" fmla="*/ 406166 h 2122841"/>
                  <a:gd name="connsiteX1" fmla="*/ 486228 w 3781294"/>
                  <a:gd name="connsiteY1" fmla="*/ 1451195 h 2122841"/>
                  <a:gd name="connsiteX2" fmla="*/ 950685 w 3781294"/>
                  <a:gd name="connsiteY2" fmla="*/ 877880 h 2122841"/>
                  <a:gd name="connsiteX3" fmla="*/ 1266371 w 3781294"/>
                  <a:gd name="connsiteY3" fmla="*/ 1367738 h 2122841"/>
                  <a:gd name="connsiteX4" fmla="*/ 1661885 w 3781294"/>
                  <a:gd name="connsiteY4" fmla="*/ 3395 h 2122841"/>
                  <a:gd name="connsiteX5" fmla="*/ 2053771 w 3781294"/>
                  <a:gd name="connsiteY5" fmla="*/ 961338 h 2122841"/>
                  <a:gd name="connsiteX6" fmla="*/ 2344057 w 3781294"/>
                  <a:gd name="connsiteY6" fmla="*/ 351738 h 2122841"/>
                  <a:gd name="connsiteX7" fmla="*/ 2783114 w 3781294"/>
                  <a:gd name="connsiteY7" fmla="*/ 1491109 h 2122841"/>
                  <a:gd name="connsiteX8" fmla="*/ 3269342 w 3781294"/>
                  <a:gd name="connsiteY8" fmla="*/ 533166 h 2122841"/>
                  <a:gd name="connsiteX9" fmla="*/ 3781294 w 3781294"/>
                  <a:gd name="connsiteY9" fmla="*/ 2122841 h 212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1294" h="2122841">
                    <a:moveTo>
                      <a:pt x="0" y="406166"/>
                    </a:moveTo>
                    <a:cubicBezTo>
                      <a:pt x="191709" y="397699"/>
                      <a:pt x="327781" y="1372576"/>
                      <a:pt x="486228" y="1451195"/>
                    </a:cubicBezTo>
                    <a:cubicBezTo>
                      <a:pt x="644675" y="1529814"/>
                      <a:pt x="820661" y="891789"/>
                      <a:pt x="950685" y="877880"/>
                    </a:cubicBezTo>
                    <a:cubicBezTo>
                      <a:pt x="1080709" y="863971"/>
                      <a:pt x="1147838" y="1513486"/>
                      <a:pt x="1266371" y="1367738"/>
                    </a:cubicBezTo>
                    <a:cubicBezTo>
                      <a:pt x="1384904" y="1221991"/>
                      <a:pt x="1530652" y="71128"/>
                      <a:pt x="1661885" y="3395"/>
                    </a:cubicBezTo>
                    <a:cubicBezTo>
                      <a:pt x="1793118" y="-64338"/>
                      <a:pt x="1940076" y="903281"/>
                      <a:pt x="2053771" y="961338"/>
                    </a:cubicBezTo>
                    <a:cubicBezTo>
                      <a:pt x="2167466" y="1019395"/>
                      <a:pt x="2222500" y="263443"/>
                      <a:pt x="2344057" y="351738"/>
                    </a:cubicBezTo>
                    <a:cubicBezTo>
                      <a:pt x="2465614" y="440033"/>
                      <a:pt x="2628900" y="1460871"/>
                      <a:pt x="2783114" y="1491109"/>
                    </a:cubicBezTo>
                    <a:cubicBezTo>
                      <a:pt x="2937328" y="1521347"/>
                      <a:pt x="3102979" y="427877"/>
                      <a:pt x="3269342" y="533166"/>
                    </a:cubicBezTo>
                    <a:cubicBezTo>
                      <a:pt x="3435705" y="638455"/>
                      <a:pt x="3632824" y="1479072"/>
                      <a:pt x="3781294" y="2122841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Freeform: Shape 156"/>
              <p:cNvSpPr/>
              <p:nvPr/>
            </p:nvSpPr>
            <p:spPr>
              <a:xfrm>
                <a:off x="3258458" y="6195929"/>
                <a:ext cx="3236685" cy="1220174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6527800"/>
                  <a:gd name="connsiteY0" fmla="*/ 1219485 h 2311685"/>
                  <a:gd name="connsiteX1" fmla="*/ 765628 w 6527800"/>
                  <a:gd name="connsiteY1" fmla="*/ 1894400 h 2311685"/>
                  <a:gd name="connsiteX2" fmla="*/ 1531257 w 6527800"/>
                  <a:gd name="connsiteY2" fmla="*/ 29314 h 2311685"/>
                  <a:gd name="connsiteX3" fmla="*/ 2804886 w 6527800"/>
                  <a:gd name="connsiteY3" fmla="*/ 831228 h 2311685"/>
                  <a:gd name="connsiteX4" fmla="*/ 3291114 w 6527800"/>
                  <a:gd name="connsiteY4" fmla="*/ 1876257 h 2311685"/>
                  <a:gd name="connsiteX5" fmla="*/ 3755571 w 6527800"/>
                  <a:gd name="connsiteY5" fmla="*/ 1302942 h 2311685"/>
                  <a:gd name="connsiteX6" fmla="*/ 4071257 w 6527800"/>
                  <a:gd name="connsiteY6" fmla="*/ 1792800 h 2311685"/>
                  <a:gd name="connsiteX7" fmla="*/ 4466771 w 6527800"/>
                  <a:gd name="connsiteY7" fmla="*/ 428457 h 2311685"/>
                  <a:gd name="connsiteX8" fmla="*/ 4858657 w 6527800"/>
                  <a:gd name="connsiteY8" fmla="*/ 1386400 h 2311685"/>
                  <a:gd name="connsiteX9" fmla="*/ 5148943 w 6527800"/>
                  <a:gd name="connsiteY9" fmla="*/ 776800 h 2311685"/>
                  <a:gd name="connsiteX10" fmla="*/ 5588000 w 6527800"/>
                  <a:gd name="connsiteY10" fmla="*/ 1916171 h 2311685"/>
                  <a:gd name="connsiteX11" fmla="*/ 6074228 w 6527800"/>
                  <a:gd name="connsiteY11" fmla="*/ 958228 h 2311685"/>
                  <a:gd name="connsiteX12" fmla="*/ 6527800 w 6527800"/>
                  <a:gd name="connsiteY12" fmla="*/ 2311685 h 2311685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2804886 w 6527800"/>
                  <a:gd name="connsiteY2" fmla="*/ 406166 h 1886623"/>
                  <a:gd name="connsiteX3" fmla="*/ 3291114 w 6527800"/>
                  <a:gd name="connsiteY3" fmla="*/ 1451195 h 1886623"/>
                  <a:gd name="connsiteX4" fmla="*/ 3755571 w 6527800"/>
                  <a:gd name="connsiteY4" fmla="*/ 877880 h 1886623"/>
                  <a:gd name="connsiteX5" fmla="*/ 4071257 w 6527800"/>
                  <a:gd name="connsiteY5" fmla="*/ 1367738 h 1886623"/>
                  <a:gd name="connsiteX6" fmla="*/ 4466771 w 6527800"/>
                  <a:gd name="connsiteY6" fmla="*/ 3395 h 1886623"/>
                  <a:gd name="connsiteX7" fmla="*/ 4858657 w 6527800"/>
                  <a:gd name="connsiteY7" fmla="*/ 961338 h 1886623"/>
                  <a:gd name="connsiteX8" fmla="*/ 5148943 w 6527800"/>
                  <a:gd name="connsiteY8" fmla="*/ 351738 h 1886623"/>
                  <a:gd name="connsiteX9" fmla="*/ 5588000 w 6527800"/>
                  <a:gd name="connsiteY9" fmla="*/ 1491109 h 1886623"/>
                  <a:gd name="connsiteX10" fmla="*/ 6074228 w 6527800"/>
                  <a:gd name="connsiteY10" fmla="*/ 533166 h 1886623"/>
                  <a:gd name="connsiteX11" fmla="*/ 6527800 w 6527800"/>
                  <a:gd name="connsiteY11" fmla="*/ 1886623 h 1886623"/>
                  <a:gd name="connsiteX0" fmla="*/ 0 w 6527800"/>
                  <a:gd name="connsiteY0" fmla="*/ 794423 h 1886623"/>
                  <a:gd name="connsiteX1" fmla="*/ 765628 w 6527800"/>
                  <a:gd name="connsiteY1" fmla="*/ 1469338 h 1886623"/>
                  <a:gd name="connsiteX2" fmla="*/ 3291114 w 6527800"/>
                  <a:gd name="connsiteY2" fmla="*/ 1451195 h 1886623"/>
                  <a:gd name="connsiteX3" fmla="*/ 3755571 w 6527800"/>
                  <a:gd name="connsiteY3" fmla="*/ 877880 h 1886623"/>
                  <a:gd name="connsiteX4" fmla="*/ 4071257 w 6527800"/>
                  <a:gd name="connsiteY4" fmla="*/ 1367738 h 1886623"/>
                  <a:gd name="connsiteX5" fmla="*/ 4466771 w 6527800"/>
                  <a:gd name="connsiteY5" fmla="*/ 3395 h 1886623"/>
                  <a:gd name="connsiteX6" fmla="*/ 4858657 w 6527800"/>
                  <a:gd name="connsiteY6" fmla="*/ 961338 h 1886623"/>
                  <a:gd name="connsiteX7" fmla="*/ 5148943 w 6527800"/>
                  <a:gd name="connsiteY7" fmla="*/ 351738 h 1886623"/>
                  <a:gd name="connsiteX8" fmla="*/ 5588000 w 6527800"/>
                  <a:gd name="connsiteY8" fmla="*/ 1491109 h 1886623"/>
                  <a:gd name="connsiteX9" fmla="*/ 6074228 w 6527800"/>
                  <a:gd name="connsiteY9" fmla="*/ 533166 h 1886623"/>
                  <a:gd name="connsiteX10" fmla="*/ 6527800 w 6527800"/>
                  <a:gd name="connsiteY10" fmla="*/ 1886623 h 1886623"/>
                  <a:gd name="connsiteX0" fmla="*/ 0 w 6527800"/>
                  <a:gd name="connsiteY0" fmla="*/ 794423 h 1886623"/>
                  <a:gd name="connsiteX1" fmla="*/ 3291114 w 6527800"/>
                  <a:gd name="connsiteY1" fmla="*/ 1451195 h 1886623"/>
                  <a:gd name="connsiteX2" fmla="*/ 3755571 w 6527800"/>
                  <a:gd name="connsiteY2" fmla="*/ 877880 h 1886623"/>
                  <a:gd name="connsiteX3" fmla="*/ 4071257 w 6527800"/>
                  <a:gd name="connsiteY3" fmla="*/ 1367738 h 1886623"/>
                  <a:gd name="connsiteX4" fmla="*/ 4466771 w 6527800"/>
                  <a:gd name="connsiteY4" fmla="*/ 3395 h 1886623"/>
                  <a:gd name="connsiteX5" fmla="*/ 4858657 w 6527800"/>
                  <a:gd name="connsiteY5" fmla="*/ 961338 h 1886623"/>
                  <a:gd name="connsiteX6" fmla="*/ 5148943 w 6527800"/>
                  <a:gd name="connsiteY6" fmla="*/ 351738 h 1886623"/>
                  <a:gd name="connsiteX7" fmla="*/ 5588000 w 6527800"/>
                  <a:gd name="connsiteY7" fmla="*/ 1491109 h 1886623"/>
                  <a:gd name="connsiteX8" fmla="*/ 6074228 w 6527800"/>
                  <a:gd name="connsiteY8" fmla="*/ 533166 h 1886623"/>
                  <a:gd name="connsiteX9" fmla="*/ 6527800 w 6527800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6685" h="1886623">
                    <a:moveTo>
                      <a:pt x="-1" y="1451195"/>
                    </a:moveTo>
                    <a:cubicBezTo>
                      <a:pt x="625927" y="1465104"/>
                      <a:pt x="334432" y="891789"/>
                      <a:pt x="464456" y="877880"/>
                    </a:cubicBezTo>
                    <a:cubicBezTo>
                      <a:pt x="594480" y="863971"/>
                      <a:pt x="661609" y="1513486"/>
                      <a:pt x="780142" y="1367738"/>
                    </a:cubicBezTo>
                    <a:cubicBezTo>
                      <a:pt x="898675" y="1221991"/>
                      <a:pt x="1044423" y="71128"/>
                      <a:pt x="1175656" y="3395"/>
                    </a:cubicBezTo>
                    <a:cubicBezTo>
                      <a:pt x="1306889" y="-64338"/>
                      <a:pt x="1453847" y="903281"/>
                      <a:pt x="1567542" y="961338"/>
                    </a:cubicBezTo>
                    <a:cubicBezTo>
                      <a:pt x="1681237" y="1019395"/>
                      <a:pt x="1736271" y="263443"/>
                      <a:pt x="1857828" y="351738"/>
                    </a:cubicBezTo>
                    <a:cubicBezTo>
                      <a:pt x="1979385" y="440033"/>
                      <a:pt x="2142671" y="1460871"/>
                      <a:pt x="2296885" y="1491109"/>
                    </a:cubicBezTo>
                    <a:cubicBezTo>
                      <a:pt x="2451099" y="1521347"/>
                      <a:pt x="2626480" y="467247"/>
                      <a:pt x="2783113" y="533166"/>
                    </a:cubicBezTo>
                    <a:cubicBezTo>
                      <a:pt x="2939746" y="599085"/>
                      <a:pt x="3088215" y="1242854"/>
                      <a:pt x="3236685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Freeform: Shape 157"/>
              <p:cNvSpPr/>
              <p:nvPr/>
            </p:nvSpPr>
            <p:spPr>
              <a:xfrm>
                <a:off x="4038601" y="6633271"/>
                <a:ext cx="2456542" cy="862645"/>
              </a:xfrm>
              <a:custGeom>
                <a:avLst/>
                <a:gdLst>
                  <a:gd name="connsiteX0" fmla="*/ 0 w 6527800"/>
                  <a:gd name="connsiteY0" fmla="*/ 1190184 h 2282384"/>
                  <a:gd name="connsiteX1" fmla="*/ 765628 w 6527800"/>
                  <a:gd name="connsiteY1" fmla="*/ 1865099 h 2282384"/>
                  <a:gd name="connsiteX2" fmla="*/ 1531257 w 6527800"/>
                  <a:gd name="connsiteY2" fmla="*/ 13 h 2282384"/>
                  <a:gd name="connsiteX3" fmla="*/ 2140857 w 6527800"/>
                  <a:gd name="connsiteY3" fmla="*/ 1897756 h 2282384"/>
                  <a:gd name="connsiteX4" fmla="*/ 2804886 w 6527800"/>
                  <a:gd name="connsiteY4" fmla="*/ 801927 h 2282384"/>
                  <a:gd name="connsiteX5" fmla="*/ 3291114 w 6527800"/>
                  <a:gd name="connsiteY5" fmla="*/ 1846956 h 2282384"/>
                  <a:gd name="connsiteX6" fmla="*/ 3755571 w 6527800"/>
                  <a:gd name="connsiteY6" fmla="*/ 1273641 h 2282384"/>
                  <a:gd name="connsiteX7" fmla="*/ 4071257 w 6527800"/>
                  <a:gd name="connsiteY7" fmla="*/ 1763499 h 2282384"/>
                  <a:gd name="connsiteX8" fmla="*/ 4466771 w 6527800"/>
                  <a:gd name="connsiteY8" fmla="*/ 399156 h 2282384"/>
                  <a:gd name="connsiteX9" fmla="*/ 4858657 w 6527800"/>
                  <a:gd name="connsiteY9" fmla="*/ 1357099 h 2282384"/>
                  <a:gd name="connsiteX10" fmla="*/ 5148943 w 6527800"/>
                  <a:gd name="connsiteY10" fmla="*/ 747499 h 2282384"/>
                  <a:gd name="connsiteX11" fmla="*/ 5588000 w 6527800"/>
                  <a:gd name="connsiteY11" fmla="*/ 1886870 h 2282384"/>
                  <a:gd name="connsiteX12" fmla="*/ 6074228 w 6527800"/>
                  <a:gd name="connsiteY12" fmla="*/ 928927 h 2282384"/>
                  <a:gd name="connsiteX13" fmla="*/ 6527800 w 6527800"/>
                  <a:gd name="connsiteY13" fmla="*/ 2282384 h 2282384"/>
                  <a:gd name="connsiteX0" fmla="*/ 0 w 5762172"/>
                  <a:gd name="connsiteY0" fmla="*/ 1865099 h 2282384"/>
                  <a:gd name="connsiteX1" fmla="*/ 765629 w 5762172"/>
                  <a:gd name="connsiteY1" fmla="*/ 13 h 2282384"/>
                  <a:gd name="connsiteX2" fmla="*/ 1375229 w 5762172"/>
                  <a:gd name="connsiteY2" fmla="*/ 1897756 h 2282384"/>
                  <a:gd name="connsiteX3" fmla="*/ 2039258 w 5762172"/>
                  <a:gd name="connsiteY3" fmla="*/ 801927 h 2282384"/>
                  <a:gd name="connsiteX4" fmla="*/ 2525486 w 5762172"/>
                  <a:gd name="connsiteY4" fmla="*/ 1846956 h 2282384"/>
                  <a:gd name="connsiteX5" fmla="*/ 2989943 w 5762172"/>
                  <a:gd name="connsiteY5" fmla="*/ 1273641 h 2282384"/>
                  <a:gd name="connsiteX6" fmla="*/ 3305629 w 5762172"/>
                  <a:gd name="connsiteY6" fmla="*/ 1763499 h 2282384"/>
                  <a:gd name="connsiteX7" fmla="*/ 3701143 w 5762172"/>
                  <a:gd name="connsiteY7" fmla="*/ 399156 h 2282384"/>
                  <a:gd name="connsiteX8" fmla="*/ 4093029 w 5762172"/>
                  <a:gd name="connsiteY8" fmla="*/ 1357099 h 2282384"/>
                  <a:gd name="connsiteX9" fmla="*/ 4383315 w 5762172"/>
                  <a:gd name="connsiteY9" fmla="*/ 747499 h 2282384"/>
                  <a:gd name="connsiteX10" fmla="*/ 4822372 w 5762172"/>
                  <a:gd name="connsiteY10" fmla="*/ 1886870 h 2282384"/>
                  <a:gd name="connsiteX11" fmla="*/ 5308600 w 5762172"/>
                  <a:gd name="connsiteY11" fmla="*/ 928927 h 2282384"/>
                  <a:gd name="connsiteX12" fmla="*/ 5762172 w 5762172"/>
                  <a:gd name="connsiteY12" fmla="*/ 2282384 h 2282384"/>
                  <a:gd name="connsiteX0" fmla="*/ 1 w 4996544"/>
                  <a:gd name="connsiteY0" fmla="*/ -2 h 2282369"/>
                  <a:gd name="connsiteX1" fmla="*/ 609601 w 4996544"/>
                  <a:gd name="connsiteY1" fmla="*/ 1897741 h 2282369"/>
                  <a:gd name="connsiteX2" fmla="*/ 1273630 w 4996544"/>
                  <a:gd name="connsiteY2" fmla="*/ 801912 h 2282369"/>
                  <a:gd name="connsiteX3" fmla="*/ 1759858 w 4996544"/>
                  <a:gd name="connsiteY3" fmla="*/ 1846941 h 2282369"/>
                  <a:gd name="connsiteX4" fmla="*/ 2224315 w 4996544"/>
                  <a:gd name="connsiteY4" fmla="*/ 1273626 h 2282369"/>
                  <a:gd name="connsiteX5" fmla="*/ 2540001 w 4996544"/>
                  <a:gd name="connsiteY5" fmla="*/ 1763484 h 2282369"/>
                  <a:gd name="connsiteX6" fmla="*/ 2935515 w 4996544"/>
                  <a:gd name="connsiteY6" fmla="*/ 399141 h 2282369"/>
                  <a:gd name="connsiteX7" fmla="*/ 3327401 w 4996544"/>
                  <a:gd name="connsiteY7" fmla="*/ 1357084 h 2282369"/>
                  <a:gd name="connsiteX8" fmla="*/ 3617687 w 4996544"/>
                  <a:gd name="connsiteY8" fmla="*/ 747484 h 2282369"/>
                  <a:gd name="connsiteX9" fmla="*/ 4056744 w 4996544"/>
                  <a:gd name="connsiteY9" fmla="*/ 1886855 h 2282369"/>
                  <a:gd name="connsiteX10" fmla="*/ 4542972 w 4996544"/>
                  <a:gd name="connsiteY10" fmla="*/ 928912 h 2282369"/>
                  <a:gd name="connsiteX11" fmla="*/ 4996544 w 4996544"/>
                  <a:gd name="connsiteY11" fmla="*/ 2282369 h 2282369"/>
                  <a:gd name="connsiteX0" fmla="*/ 0 w 4386943"/>
                  <a:gd name="connsiteY0" fmla="*/ 1501995 h 1886623"/>
                  <a:gd name="connsiteX1" fmla="*/ 664029 w 4386943"/>
                  <a:gd name="connsiteY1" fmla="*/ 406166 h 1886623"/>
                  <a:gd name="connsiteX2" fmla="*/ 1150257 w 4386943"/>
                  <a:gd name="connsiteY2" fmla="*/ 1451195 h 1886623"/>
                  <a:gd name="connsiteX3" fmla="*/ 1614714 w 4386943"/>
                  <a:gd name="connsiteY3" fmla="*/ 877880 h 1886623"/>
                  <a:gd name="connsiteX4" fmla="*/ 1930400 w 4386943"/>
                  <a:gd name="connsiteY4" fmla="*/ 1367738 h 1886623"/>
                  <a:gd name="connsiteX5" fmla="*/ 2325914 w 4386943"/>
                  <a:gd name="connsiteY5" fmla="*/ 3395 h 1886623"/>
                  <a:gd name="connsiteX6" fmla="*/ 2717800 w 4386943"/>
                  <a:gd name="connsiteY6" fmla="*/ 961338 h 1886623"/>
                  <a:gd name="connsiteX7" fmla="*/ 3008086 w 4386943"/>
                  <a:gd name="connsiteY7" fmla="*/ 351738 h 1886623"/>
                  <a:gd name="connsiteX8" fmla="*/ 3447143 w 4386943"/>
                  <a:gd name="connsiteY8" fmla="*/ 1491109 h 1886623"/>
                  <a:gd name="connsiteX9" fmla="*/ 3933371 w 4386943"/>
                  <a:gd name="connsiteY9" fmla="*/ 533166 h 1886623"/>
                  <a:gd name="connsiteX10" fmla="*/ 4386943 w 4386943"/>
                  <a:gd name="connsiteY10" fmla="*/ 1886623 h 1886623"/>
                  <a:gd name="connsiteX0" fmla="*/ 1 w 3722915"/>
                  <a:gd name="connsiteY0" fmla="*/ 406166 h 1886623"/>
                  <a:gd name="connsiteX1" fmla="*/ 486229 w 3722915"/>
                  <a:gd name="connsiteY1" fmla="*/ 1451195 h 1886623"/>
                  <a:gd name="connsiteX2" fmla="*/ 950686 w 3722915"/>
                  <a:gd name="connsiteY2" fmla="*/ 877880 h 1886623"/>
                  <a:gd name="connsiteX3" fmla="*/ 1266372 w 3722915"/>
                  <a:gd name="connsiteY3" fmla="*/ 1367738 h 1886623"/>
                  <a:gd name="connsiteX4" fmla="*/ 1661886 w 3722915"/>
                  <a:gd name="connsiteY4" fmla="*/ 3395 h 1886623"/>
                  <a:gd name="connsiteX5" fmla="*/ 2053772 w 3722915"/>
                  <a:gd name="connsiteY5" fmla="*/ 961338 h 1886623"/>
                  <a:gd name="connsiteX6" fmla="*/ 2344058 w 3722915"/>
                  <a:gd name="connsiteY6" fmla="*/ 351738 h 1886623"/>
                  <a:gd name="connsiteX7" fmla="*/ 2783115 w 3722915"/>
                  <a:gd name="connsiteY7" fmla="*/ 1491109 h 1886623"/>
                  <a:gd name="connsiteX8" fmla="*/ 3269343 w 3722915"/>
                  <a:gd name="connsiteY8" fmla="*/ 533166 h 1886623"/>
                  <a:gd name="connsiteX9" fmla="*/ 3722915 w 3722915"/>
                  <a:gd name="connsiteY9" fmla="*/ 1886623 h 1886623"/>
                  <a:gd name="connsiteX0" fmla="*/ -1 w 3236685"/>
                  <a:gd name="connsiteY0" fmla="*/ 1451195 h 1886623"/>
                  <a:gd name="connsiteX1" fmla="*/ 464456 w 3236685"/>
                  <a:gd name="connsiteY1" fmla="*/ 877880 h 1886623"/>
                  <a:gd name="connsiteX2" fmla="*/ 780142 w 3236685"/>
                  <a:gd name="connsiteY2" fmla="*/ 1367738 h 1886623"/>
                  <a:gd name="connsiteX3" fmla="*/ 1175656 w 3236685"/>
                  <a:gd name="connsiteY3" fmla="*/ 3395 h 1886623"/>
                  <a:gd name="connsiteX4" fmla="*/ 1567542 w 3236685"/>
                  <a:gd name="connsiteY4" fmla="*/ 961338 h 1886623"/>
                  <a:gd name="connsiteX5" fmla="*/ 1857828 w 3236685"/>
                  <a:gd name="connsiteY5" fmla="*/ 351738 h 1886623"/>
                  <a:gd name="connsiteX6" fmla="*/ 2296885 w 3236685"/>
                  <a:gd name="connsiteY6" fmla="*/ 1491109 h 1886623"/>
                  <a:gd name="connsiteX7" fmla="*/ 2783113 w 3236685"/>
                  <a:gd name="connsiteY7" fmla="*/ 533166 h 1886623"/>
                  <a:gd name="connsiteX8" fmla="*/ 3236685 w 3236685"/>
                  <a:gd name="connsiteY8" fmla="*/ 1886623 h 1886623"/>
                  <a:gd name="connsiteX0" fmla="*/ 0 w 2772229"/>
                  <a:gd name="connsiteY0" fmla="*/ 877880 h 1886623"/>
                  <a:gd name="connsiteX1" fmla="*/ 315686 w 2772229"/>
                  <a:gd name="connsiteY1" fmla="*/ 1367738 h 1886623"/>
                  <a:gd name="connsiteX2" fmla="*/ 711200 w 2772229"/>
                  <a:gd name="connsiteY2" fmla="*/ 3395 h 1886623"/>
                  <a:gd name="connsiteX3" fmla="*/ 1103086 w 2772229"/>
                  <a:gd name="connsiteY3" fmla="*/ 961338 h 1886623"/>
                  <a:gd name="connsiteX4" fmla="*/ 1393372 w 2772229"/>
                  <a:gd name="connsiteY4" fmla="*/ 351738 h 1886623"/>
                  <a:gd name="connsiteX5" fmla="*/ 1832429 w 2772229"/>
                  <a:gd name="connsiteY5" fmla="*/ 1491109 h 1886623"/>
                  <a:gd name="connsiteX6" fmla="*/ 2318657 w 2772229"/>
                  <a:gd name="connsiteY6" fmla="*/ 533166 h 1886623"/>
                  <a:gd name="connsiteX7" fmla="*/ 2772229 w 2772229"/>
                  <a:gd name="connsiteY7" fmla="*/ 1886623 h 1886623"/>
                  <a:gd name="connsiteX0" fmla="*/ 0 w 2456543"/>
                  <a:gd name="connsiteY0" fmla="*/ 1367738 h 1886623"/>
                  <a:gd name="connsiteX1" fmla="*/ 395514 w 2456543"/>
                  <a:gd name="connsiteY1" fmla="*/ 3395 h 1886623"/>
                  <a:gd name="connsiteX2" fmla="*/ 787400 w 2456543"/>
                  <a:gd name="connsiteY2" fmla="*/ 961338 h 1886623"/>
                  <a:gd name="connsiteX3" fmla="*/ 1077686 w 2456543"/>
                  <a:gd name="connsiteY3" fmla="*/ 351738 h 1886623"/>
                  <a:gd name="connsiteX4" fmla="*/ 1516743 w 2456543"/>
                  <a:gd name="connsiteY4" fmla="*/ 1491109 h 1886623"/>
                  <a:gd name="connsiteX5" fmla="*/ 2002971 w 2456543"/>
                  <a:gd name="connsiteY5" fmla="*/ 533166 h 1886623"/>
                  <a:gd name="connsiteX6" fmla="*/ 2456543 w 2456543"/>
                  <a:gd name="connsiteY6" fmla="*/ 1886623 h 188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56543" h="1886623">
                    <a:moveTo>
                      <a:pt x="0" y="1367738"/>
                    </a:moveTo>
                    <a:cubicBezTo>
                      <a:pt x="118533" y="1221991"/>
                      <a:pt x="264281" y="71128"/>
                      <a:pt x="395514" y="3395"/>
                    </a:cubicBezTo>
                    <a:cubicBezTo>
                      <a:pt x="526747" y="-64338"/>
                      <a:pt x="673705" y="903281"/>
                      <a:pt x="787400" y="961338"/>
                    </a:cubicBezTo>
                    <a:cubicBezTo>
                      <a:pt x="901095" y="1019395"/>
                      <a:pt x="956129" y="263443"/>
                      <a:pt x="1077686" y="351738"/>
                    </a:cubicBezTo>
                    <a:cubicBezTo>
                      <a:pt x="1199243" y="440033"/>
                      <a:pt x="1362529" y="1460871"/>
                      <a:pt x="1516743" y="1491109"/>
                    </a:cubicBezTo>
                    <a:cubicBezTo>
                      <a:pt x="1670957" y="1521347"/>
                      <a:pt x="1846338" y="467247"/>
                      <a:pt x="2002971" y="533166"/>
                    </a:cubicBezTo>
                    <a:cubicBezTo>
                      <a:pt x="2159604" y="599085"/>
                      <a:pt x="2308073" y="1242854"/>
                      <a:pt x="2456543" y="1886623"/>
                    </a:cubicBezTo>
                  </a:path>
                </a:pathLst>
              </a:custGeom>
              <a:noFill/>
              <a:ln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63" name="Rectangle 16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2050">
                  <a:alpha val="60000"/>
                </a:srgbClr>
              </a:gs>
              <a:gs pos="100000">
                <a:srgbClr val="00205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726449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04261"/>
            <a:ext cx="115824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 dirty="0"/>
              <a:t>Bullet first level</a:t>
            </a:r>
          </a:p>
          <a:p>
            <a:pPr lvl="1"/>
            <a:r>
              <a:rPr lang="en-US" dirty="0"/>
              <a:t>Bullet second level</a:t>
            </a:r>
          </a:p>
          <a:p>
            <a:pPr lvl="2"/>
            <a:r>
              <a:rPr lang="en-US" dirty="0"/>
              <a:t>Bullet third level</a:t>
            </a:r>
          </a:p>
          <a:p>
            <a:pPr lvl="3"/>
            <a:r>
              <a:rPr lang="en-US" dirty="0"/>
              <a:t>Bullet four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 dirty="0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953006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 noChangeAspect="1"/>
          </p:cNvSpPr>
          <p:nvPr>
            <p:ph type="title"/>
          </p:nvPr>
        </p:nvSpPr>
        <p:spPr>
          <a:xfrm>
            <a:off x="304800" y="358227"/>
            <a:ext cx="11582400" cy="88900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867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 dirty="0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04261"/>
            <a:ext cx="57912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 dirty="0"/>
              <a:t>Bullet first level</a:t>
            </a:r>
          </a:p>
          <a:p>
            <a:pPr lvl="1"/>
            <a:r>
              <a:rPr lang="en-US" dirty="0"/>
              <a:t>Bullet second level</a:t>
            </a:r>
          </a:p>
          <a:p>
            <a:pPr lvl="2"/>
            <a:r>
              <a:rPr lang="en-US" dirty="0"/>
              <a:t>Bullet third level</a:t>
            </a:r>
          </a:p>
          <a:p>
            <a:pPr lvl="3"/>
            <a:r>
              <a:rPr lang="en-US" dirty="0"/>
              <a:t>Bullet 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096000" y="1304261"/>
            <a:ext cx="5791200" cy="4768519"/>
          </a:xfrm>
          <a:prstGeom prst="rect">
            <a:avLst/>
          </a:prstGeom>
        </p:spPr>
        <p:txBody>
          <a:bodyPr lIns="0" tIns="0" rIns="0" bIns="0"/>
          <a:lstStyle>
            <a:lvl1pPr marL="243834" indent="-243834">
              <a:lnSpc>
                <a:spcPct val="100000"/>
              </a:lnSpc>
              <a:spcBef>
                <a:spcPts val="667"/>
              </a:spcBef>
              <a:buFont typeface="Arial" charset="0"/>
              <a:buChar char="•"/>
              <a:defRPr sz="32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609585" indent="-243834">
              <a:lnSpc>
                <a:spcPct val="10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933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914377" indent="-243834">
              <a:lnSpc>
                <a:spcPct val="100000"/>
              </a:lnSpc>
              <a:spcBef>
                <a:spcPts val="667"/>
              </a:spcBef>
              <a:buFont typeface="Arial"/>
              <a:buChar char="•"/>
              <a:defRPr sz="2667">
                <a:solidFill>
                  <a:schemeClr val="bg1"/>
                </a:solidFill>
                <a:latin typeface="Segoe UI Light"/>
                <a:cs typeface="Segoe UI Light"/>
              </a:defRPr>
            </a:lvl3pPr>
            <a:lvl4pPr marL="1219170" marR="0" indent="-243834" algn="l" defTabSz="121917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>
                <a:solidFill>
                  <a:schemeClr val="bg1"/>
                </a:solidFill>
                <a:latin typeface="Segoe UI Light"/>
                <a:cs typeface="Segoe UI Light"/>
              </a:defRPr>
            </a:lvl4pPr>
            <a:lvl5pPr marL="2072588" indent="243834">
              <a:spcBef>
                <a:spcPts val="1333"/>
              </a:spcBef>
              <a:buFont typeface="Arial"/>
              <a:buChar char="•"/>
              <a:tabLst>
                <a:tab pos="2135664" algn="l"/>
              </a:tabLst>
              <a:defRPr sz="2667" baseline="0">
                <a:solidFill>
                  <a:schemeClr val="bg1"/>
                </a:solidFill>
                <a:latin typeface="Segoe UI Light"/>
                <a:cs typeface="Segoe UI Light"/>
              </a:defRPr>
            </a:lvl5pPr>
          </a:lstStyle>
          <a:p>
            <a:pPr lvl="0"/>
            <a:r>
              <a:rPr lang="en-US" dirty="0"/>
              <a:t>Bullet first level</a:t>
            </a:r>
          </a:p>
          <a:p>
            <a:pPr lvl="1"/>
            <a:r>
              <a:rPr lang="en-US" dirty="0"/>
              <a:t>Bullet second level</a:t>
            </a:r>
          </a:p>
          <a:p>
            <a:pPr lvl="2"/>
            <a:r>
              <a:rPr lang="en-US" dirty="0"/>
              <a:t>Bullet third level</a:t>
            </a:r>
          </a:p>
          <a:p>
            <a:pPr lvl="3"/>
            <a:r>
              <a:rPr lang="en-US" dirty="0"/>
              <a:t>Bullet 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744807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269240" y="1189177"/>
            <a:ext cx="11653600" cy="466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L="609585" marR="0" lvl="0" indent="-423323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1219170" marR="0" lvl="1" indent="-397923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828754" marR="0" lvl="2" indent="-380990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1467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2438339" marR="0" lvl="3" indent="-372524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3047924" marR="0" lvl="4" indent="-372524" algn="l" rtl="0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3657509" marR="0" lvl="5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4267093" marR="0" lvl="6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4876678" marR="0" lvl="7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5486263" marR="0" lvl="8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269240" y="289513"/>
            <a:ext cx="11656000" cy="803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Quattrocento Sans"/>
              <a:buNone/>
              <a:defRPr sz="4800" b="0" i="0" u="none" strike="noStrike" cap="none">
                <a:solidFill>
                  <a:schemeClr val="dk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23765638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463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69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90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94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58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68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29827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 anchor="ctr"/>
          <a:lstStyle>
            <a:lvl1pPr marL="0" algn="ctr" defTabSz="9140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53" b="0" kern="1200" cap="all" spc="800" baseline="0" dirty="0">
                <a:ln w="3175">
                  <a:noFill/>
                </a:ln>
                <a:solidFill>
                  <a:srgbClr val="0078D7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8D0D8F9C-9D73-432D-8577-60228C3C0A12}"/>
              </a:ext>
            </a:extLst>
          </p:cNvPr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6339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457315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70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70818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91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6523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0205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4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56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408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337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022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72723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76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056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2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89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11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493385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1698134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94909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825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0639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51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734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0151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066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16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03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264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8603705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5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Title 1"/>
          <p:cNvSpPr>
            <a:spLocks noGrp="1" noChangeAspect="1"/>
          </p:cNvSpPr>
          <p:nvPr>
            <p:ph type="title"/>
          </p:nvPr>
        </p:nvSpPr>
        <p:spPr>
          <a:xfrm>
            <a:off x="213422" y="2746094"/>
            <a:ext cx="11765156" cy="2315435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5998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6825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7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3230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571" y="80690"/>
            <a:ext cx="1317744" cy="1237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89642" rIns="89642" bIns="8964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76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085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46669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0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88131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87044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6123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72910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2178837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01590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772661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kin (event name)">
    <p:bg bwMode="gray"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69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6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2" name="Group 81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25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7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2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0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white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white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8" name="Freeform 12"/>
            <p:cNvSpPr>
              <a:spLocks noEditPoints="1"/>
            </p:cNvSpPr>
            <p:nvPr/>
          </p:nvSpPr>
          <p:spPr bwMode="white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77" name="Group 76"/>
          <p:cNvGrpSpPr/>
          <p:nvPr userDrawn="1"/>
        </p:nvGrpSpPr>
        <p:grpSpPr>
          <a:xfrm>
            <a:off x="1004585" y="2308309"/>
            <a:ext cx="3321130" cy="437381"/>
            <a:chOff x="1092200" y="1960563"/>
            <a:chExt cx="3387726" cy="446088"/>
          </a:xfrm>
        </p:grpSpPr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1092200" y="1981201"/>
              <a:ext cx="344488" cy="317500"/>
            </a:xfrm>
            <a:custGeom>
              <a:avLst/>
              <a:gdLst>
                <a:gd name="T0" fmla="*/ 181 w 213"/>
                <a:gd name="T1" fmla="*/ 197 h 197"/>
                <a:gd name="T2" fmla="*/ 181 w 213"/>
                <a:gd name="T3" fmla="*/ 72 h 197"/>
                <a:gd name="T4" fmla="*/ 182 w 213"/>
                <a:gd name="T5" fmla="*/ 29 h 197"/>
                <a:gd name="T6" fmla="*/ 182 w 213"/>
                <a:gd name="T7" fmla="*/ 29 h 197"/>
                <a:gd name="T8" fmla="*/ 176 w 213"/>
                <a:gd name="T9" fmla="*/ 51 h 197"/>
                <a:gd name="T10" fmla="*/ 117 w 213"/>
                <a:gd name="T11" fmla="*/ 197 h 197"/>
                <a:gd name="T12" fmla="*/ 95 w 213"/>
                <a:gd name="T13" fmla="*/ 197 h 197"/>
                <a:gd name="T14" fmla="*/ 35 w 213"/>
                <a:gd name="T15" fmla="*/ 53 h 197"/>
                <a:gd name="T16" fmla="*/ 30 w 213"/>
                <a:gd name="T17" fmla="*/ 29 h 197"/>
                <a:gd name="T18" fmla="*/ 29 w 213"/>
                <a:gd name="T19" fmla="*/ 29 h 197"/>
                <a:gd name="T20" fmla="*/ 30 w 213"/>
                <a:gd name="T21" fmla="*/ 49 h 197"/>
                <a:gd name="T22" fmla="*/ 30 w 213"/>
                <a:gd name="T23" fmla="*/ 76 h 197"/>
                <a:gd name="T24" fmla="*/ 30 w 213"/>
                <a:gd name="T25" fmla="*/ 197 h 197"/>
                <a:gd name="T26" fmla="*/ 0 w 213"/>
                <a:gd name="T27" fmla="*/ 197 h 197"/>
                <a:gd name="T28" fmla="*/ 0 w 213"/>
                <a:gd name="T29" fmla="*/ 0 h 197"/>
                <a:gd name="T30" fmla="*/ 47 w 213"/>
                <a:gd name="T31" fmla="*/ 0 h 197"/>
                <a:gd name="T32" fmla="*/ 97 w 213"/>
                <a:gd name="T33" fmla="*/ 124 h 197"/>
                <a:gd name="T34" fmla="*/ 106 w 213"/>
                <a:gd name="T35" fmla="*/ 152 h 197"/>
                <a:gd name="T36" fmla="*/ 106 w 213"/>
                <a:gd name="T37" fmla="*/ 152 h 197"/>
                <a:gd name="T38" fmla="*/ 117 w 213"/>
                <a:gd name="T39" fmla="*/ 124 h 197"/>
                <a:gd name="T40" fmla="*/ 168 w 213"/>
                <a:gd name="T41" fmla="*/ 0 h 197"/>
                <a:gd name="T42" fmla="*/ 213 w 213"/>
                <a:gd name="T43" fmla="*/ 0 h 197"/>
                <a:gd name="T44" fmla="*/ 213 w 213"/>
                <a:gd name="T45" fmla="*/ 197 h 197"/>
                <a:gd name="T46" fmla="*/ 181 w 213"/>
                <a:gd name="T4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97">
                  <a:moveTo>
                    <a:pt x="181" y="197"/>
                  </a:moveTo>
                  <a:cubicBezTo>
                    <a:pt x="181" y="72"/>
                    <a:pt x="181" y="72"/>
                    <a:pt x="181" y="72"/>
                  </a:cubicBezTo>
                  <a:cubicBezTo>
                    <a:pt x="181" y="62"/>
                    <a:pt x="181" y="48"/>
                    <a:pt x="182" y="29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0" y="39"/>
                    <a:pt x="178" y="47"/>
                    <a:pt x="176" y="51"/>
                  </a:cubicBezTo>
                  <a:cubicBezTo>
                    <a:pt x="117" y="197"/>
                    <a:pt x="117" y="197"/>
                    <a:pt x="117" y="197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48"/>
                    <a:pt x="32" y="40"/>
                    <a:pt x="30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32"/>
                    <a:pt x="29" y="38"/>
                    <a:pt x="30" y="49"/>
                  </a:cubicBezTo>
                  <a:cubicBezTo>
                    <a:pt x="30" y="59"/>
                    <a:pt x="30" y="68"/>
                    <a:pt x="30" y="76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101" y="136"/>
                    <a:pt x="104" y="146"/>
                    <a:pt x="106" y="152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7" y="124"/>
                    <a:pt x="117" y="124"/>
                    <a:pt x="117" y="124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197"/>
                    <a:pt x="213" y="197"/>
                    <a:pt x="213" y="197"/>
                  </a:cubicBezTo>
                  <a:lnTo>
                    <a:pt x="181" y="1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1495425" y="2066926"/>
              <a:ext cx="233363" cy="236538"/>
            </a:xfrm>
            <a:custGeom>
              <a:avLst/>
              <a:gdLst>
                <a:gd name="T0" fmla="*/ 145 w 145"/>
                <a:gd name="T1" fmla="*/ 72 h 147"/>
                <a:gd name="T2" fmla="*/ 125 w 145"/>
                <a:gd name="T3" fmla="*/ 127 h 147"/>
                <a:gd name="T4" fmla="*/ 71 w 145"/>
                <a:gd name="T5" fmla="*/ 147 h 147"/>
                <a:gd name="T6" fmla="*/ 19 w 145"/>
                <a:gd name="T7" fmla="*/ 128 h 147"/>
                <a:gd name="T8" fmla="*/ 0 w 145"/>
                <a:gd name="T9" fmla="*/ 75 h 147"/>
                <a:gd name="T10" fmla="*/ 20 w 145"/>
                <a:gd name="T11" fmla="*/ 20 h 147"/>
                <a:gd name="T12" fmla="*/ 75 w 145"/>
                <a:gd name="T13" fmla="*/ 0 h 147"/>
                <a:gd name="T14" fmla="*/ 126 w 145"/>
                <a:gd name="T15" fmla="*/ 19 h 147"/>
                <a:gd name="T16" fmla="*/ 145 w 145"/>
                <a:gd name="T17" fmla="*/ 72 h 147"/>
                <a:gd name="T18" fmla="*/ 112 w 145"/>
                <a:gd name="T19" fmla="*/ 73 h 147"/>
                <a:gd name="T20" fmla="*/ 101 w 145"/>
                <a:gd name="T21" fmla="*/ 38 h 147"/>
                <a:gd name="T22" fmla="*/ 73 w 145"/>
                <a:gd name="T23" fmla="*/ 26 h 147"/>
                <a:gd name="T24" fmla="*/ 44 w 145"/>
                <a:gd name="T25" fmla="*/ 39 h 147"/>
                <a:gd name="T26" fmla="*/ 33 w 145"/>
                <a:gd name="T27" fmla="*/ 74 h 147"/>
                <a:gd name="T28" fmla="*/ 44 w 145"/>
                <a:gd name="T29" fmla="*/ 109 h 147"/>
                <a:gd name="T30" fmla="*/ 73 w 145"/>
                <a:gd name="T31" fmla="*/ 121 h 147"/>
                <a:gd name="T32" fmla="*/ 102 w 145"/>
                <a:gd name="T33" fmla="*/ 109 h 147"/>
                <a:gd name="T34" fmla="*/ 112 w 145"/>
                <a:gd name="T35" fmla="*/ 7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7">
                  <a:moveTo>
                    <a:pt x="145" y="72"/>
                  </a:moveTo>
                  <a:cubicBezTo>
                    <a:pt x="145" y="95"/>
                    <a:pt x="138" y="113"/>
                    <a:pt x="125" y="127"/>
                  </a:cubicBezTo>
                  <a:cubicBezTo>
                    <a:pt x="112" y="141"/>
                    <a:pt x="94" y="147"/>
                    <a:pt x="71" y="147"/>
                  </a:cubicBezTo>
                  <a:cubicBezTo>
                    <a:pt x="50" y="147"/>
                    <a:pt x="32" y="141"/>
                    <a:pt x="19" y="128"/>
                  </a:cubicBezTo>
                  <a:cubicBezTo>
                    <a:pt x="7" y="115"/>
                    <a:pt x="0" y="97"/>
                    <a:pt x="0" y="75"/>
                  </a:cubicBezTo>
                  <a:cubicBezTo>
                    <a:pt x="0" y="52"/>
                    <a:pt x="7" y="34"/>
                    <a:pt x="20" y="20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6"/>
                    <a:pt x="126" y="19"/>
                  </a:cubicBezTo>
                  <a:cubicBezTo>
                    <a:pt x="139" y="32"/>
                    <a:pt x="145" y="50"/>
                    <a:pt x="145" y="72"/>
                  </a:cubicBezTo>
                  <a:close/>
                  <a:moveTo>
                    <a:pt x="112" y="73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0"/>
                    <a:pt x="44" y="39"/>
                  </a:cubicBezTo>
                  <a:cubicBezTo>
                    <a:pt x="37" y="47"/>
                    <a:pt x="33" y="59"/>
                    <a:pt x="33" y="74"/>
                  </a:cubicBezTo>
                  <a:cubicBezTo>
                    <a:pt x="33" y="89"/>
                    <a:pt x="37" y="101"/>
                    <a:pt x="44" y="109"/>
                  </a:cubicBezTo>
                  <a:cubicBezTo>
                    <a:pt x="51" y="117"/>
                    <a:pt x="61" y="121"/>
                    <a:pt x="73" y="121"/>
                  </a:cubicBezTo>
                  <a:cubicBezTo>
                    <a:pt x="86" y="121"/>
                    <a:pt x="95" y="117"/>
                    <a:pt x="102" y="109"/>
                  </a:cubicBezTo>
                  <a:cubicBezTo>
                    <a:pt x="108" y="101"/>
                    <a:pt x="112" y="89"/>
                    <a:pt x="112" y="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1765300" y="1962151"/>
              <a:ext cx="222250" cy="341313"/>
            </a:xfrm>
            <a:custGeom>
              <a:avLst/>
              <a:gdLst>
                <a:gd name="T0" fmla="*/ 105 w 137"/>
                <a:gd name="T1" fmla="*/ 208 h 211"/>
                <a:gd name="T2" fmla="*/ 105 w 137"/>
                <a:gd name="T3" fmla="*/ 186 h 211"/>
                <a:gd name="T4" fmla="*/ 105 w 137"/>
                <a:gd name="T5" fmla="*/ 186 h 211"/>
                <a:gd name="T6" fmla="*/ 58 w 137"/>
                <a:gd name="T7" fmla="*/ 211 h 211"/>
                <a:gd name="T8" fmla="*/ 16 w 137"/>
                <a:gd name="T9" fmla="*/ 192 h 211"/>
                <a:gd name="T10" fmla="*/ 0 w 137"/>
                <a:gd name="T11" fmla="*/ 141 h 211"/>
                <a:gd name="T12" fmla="*/ 18 w 137"/>
                <a:gd name="T13" fmla="*/ 85 h 211"/>
                <a:gd name="T14" fmla="*/ 65 w 137"/>
                <a:gd name="T15" fmla="*/ 64 h 211"/>
                <a:gd name="T16" fmla="*/ 88 w 137"/>
                <a:gd name="T17" fmla="*/ 69 h 211"/>
                <a:gd name="T18" fmla="*/ 105 w 137"/>
                <a:gd name="T19" fmla="*/ 85 h 211"/>
                <a:gd name="T20" fmla="*/ 105 w 137"/>
                <a:gd name="T21" fmla="*/ 85 h 211"/>
                <a:gd name="T22" fmla="*/ 105 w 137"/>
                <a:gd name="T23" fmla="*/ 0 h 211"/>
                <a:gd name="T24" fmla="*/ 137 w 137"/>
                <a:gd name="T25" fmla="*/ 0 h 211"/>
                <a:gd name="T26" fmla="*/ 137 w 137"/>
                <a:gd name="T27" fmla="*/ 208 h 211"/>
                <a:gd name="T28" fmla="*/ 105 w 137"/>
                <a:gd name="T29" fmla="*/ 208 h 211"/>
                <a:gd name="T30" fmla="*/ 105 w 137"/>
                <a:gd name="T31" fmla="*/ 126 h 211"/>
                <a:gd name="T32" fmla="*/ 95 w 137"/>
                <a:gd name="T33" fmla="*/ 100 h 211"/>
                <a:gd name="T34" fmla="*/ 71 w 137"/>
                <a:gd name="T35" fmla="*/ 90 h 211"/>
                <a:gd name="T36" fmla="*/ 43 w 137"/>
                <a:gd name="T37" fmla="*/ 103 h 211"/>
                <a:gd name="T38" fmla="*/ 33 w 137"/>
                <a:gd name="T39" fmla="*/ 140 h 211"/>
                <a:gd name="T40" fmla="*/ 43 w 137"/>
                <a:gd name="T41" fmla="*/ 173 h 211"/>
                <a:gd name="T42" fmla="*/ 69 w 137"/>
                <a:gd name="T43" fmla="*/ 185 h 211"/>
                <a:gd name="T44" fmla="*/ 95 w 137"/>
                <a:gd name="T45" fmla="*/ 173 h 211"/>
                <a:gd name="T46" fmla="*/ 105 w 137"/>
                <a:gd name="T47" fmla="*/ 142 h 211"/>
                <a:gd name="T48" fmla="*/ 105 w 137"/>
                <a:gd name="T49" fmla="*/ 12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211">
                  <a:moveTo>
                    <a:pt x="105" y="208"/>
                  </a:moveTo>
                  <a:cubicBezTo>
                    <a:pt x="105" y="186"/>
                    <a:pt x="105" y="186"/>
                    <a:pt x="105" y="186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95" y="203"/>
                    <a:pt x="79" y="211"/>
                    <a:pt x="58" y="211"/>
                  </a:cubicBezTo>
                  <a:cubicBezTo>
                    <a:pt x="41" y="211"/>
                    <a:pt x="27" y="205"/>
                    <a:pt x="16" y="192"/>
                  </a:cubicBezTo>
                  <a:cubicBezTo>
                    <a:pt x="5" y="180"/>
                    <a:pt x="0" y="163"/>
                    <a:pt x="0" y="141"/>
                  </a:cubicBezTo>
                  <a:cubicBezTo>
                    <a:pt x="0" y="118"/>
                    <a:pt x="6" y="99"/>
                    <a:pt x="18" y="85"/>
                  </a:cubicBezTo>
                  <a:cubicBezTo>
                    <a:pt x="29" y="71"/>
                    <a:pt x="45" y="64"/>
                    <a:pt x="65" y="64"/>
                  </a:cubicBezTo>
                  <a:cubicBezTo>
                    <a:pt x="74" y="64"/>
                    <a:pt x="81" y="66"/>
                    <a:pt x="88" y="69"/>
                  </a:cubicBezTo>
                  <a:cubicBezTo>
                    <a:pt x="95" y="73"/>
                    <a:pt x="101" y="78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208"/>
                    <a:pt x="137" y="208"/>
                    <a:pt x="137" y="208"/>
                  </a:cubicBezTo>
                  <a:lnTo>
                    <a:pt x="105" y="208"/>
                  </a:lnTo>
                  <a:close/>
                  <a:moveTo>
                    <a:pt x="105" y="126"/>
                  </a:moveTo>
                  <a:cubicBezTo>
                    <a:pt x="105" y="116"/>
                    <a:pt x="102" y="107"/>
                    <a:pt x="95" y="100"/>
                  </a:cubicBezTo>
                  <a:cubicBezTo>
                    <a:pt x="89" y="93"/>
                    <a:pt x="81" y="90"/>
                    <a:pt x="71" y="90"/>
                  </a:cubicBezTo>
                  <a:cubicBezTo>
                    <a:pt x="59" y="90"/>
                    <a:pt x="50" y="94"/>
                    <a:pt x="43" y="103"/>
                  </a:cubicBezTo>
                  <a:cubicBezTo>
                    <a:pt x="36" y="112"/>
                    <a:pt x="33" y="124"/>
                    <a:pt x="33" y="140"/>
                  </a:cubicBezTo>
                  <a:cubicBezTo>
                    <a:pt x="33" y="154"/>
                    <a:pt x="36" y="165"/>
                    <a:pt x="43" y="173"/>
                  </a:cubicBezTo>
                  <a:cubicBezTo>
                    <a:pt x="49" y="181"/>
                    <a:pt x="58" y="185"/>
                    <a:pt x="69" y="185"/>
                  </a:cubicBezTo>
                  <a:cubicBezTo>
                    <a:pt x="79" y="185"/>
                    <a:pt x="88" y="181"/>
                    <a:pt x="95" y="173"/>
                  </a:cubicBezTo>
                  <a:cubicBezTo>
                    <a:pt x="102" y="165"/>
                    <a:pt x="105" y="155"/>
                    <a:pt x="105" y="142"/>
                  </a:cubicBezTo>
                  <a:lnTo>
                    <a:pt x="10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0" name="Freeform 36"/>
            <p:cNvSpPr>
              <a:spLocks noEditPoints="1"/>
            </p:cNvSpPr>
            <p:nvPr userDrawn="1"/>
          </p:nvSpPr>
          <p:spPr bwMode="auto">
            <a:xfrm>
              <a:off x="2039938" y="2066926"/>
              <a:ext cx="207963" cy="236538"/>
            </a:xfrm>
            <a:custGeom>
              <a:avLst/>
              <a:gdLst>
                <a:gd name="T0" fmla="*/ 32 w 128"/>
                <a:gd name="T1" fmla="*/ 83 h 147"/>
                <a:gd name="T2" fmla="*/ 44 w 128"/>
                <a:gd name="T3" fmla="*/ 112 h 147"/>
                <a:gd name="T4" fmla="*/ 75 w 128"/>
                <a:gd name="T5" fmla="*/ 122 h 147"/>
                <a:gd name="T6" fmla="*/ 98 w 128"/>
                <a:gd name="T7" fmla="*/ 118 h 147"/>
                <a:gd name="T8" fmla="*/ 117 w 128"/>
                <a:gd name="T9" fmla="*/ 109 h 147"/>
                <a:gd name="T10" fmla="*/ 117 w 128"/>
                <a:gd name="T11" fmla="*/ 136 h 147"/>
                <a:gd name="T12" fmla="*/ 95 w 128"/>
                <a:gd name="T13" fmla="*/ 144 h 147"/>
                <a:gd name="T14" fmla="*/ 67 w 128"/>
                <a:gd name="T15" fmla="*/ 147 h 147"/>
                <a:gd name="T16" fmla="*/ 17 w 128"/>
                <a:gd name="T17" fmla="*/ 128 h 147"/>
                <a:gd name="T18" fmla="*/ 0 w 128"/>
                <a:gd name="T19" fmla="*/ 75 h 147"/>
                <a:gd name="T20" fmla="*/ 9 w 128"/>
                <a:gd name="T21" fmla="*/ 36 h 147"/>
                <a:gd name="T22" fmla="*/ 33 w 128"/>
                <a:gd name="T23" fmla="*/ 9 h 147"/>
                <a:gd name="T24" fmla="*/ 67 w 128"/>
                <a:gd name="T25" fmla="*/ 0 h 147"/>
                <a:gd name="T26" fmla="*/ 112 w 128"/>
                <a:gd name="T27" fmla="*/ 18 h 147"/>
                <a:gd name="T28" fmla="*/ 128 w 128"/>
                <a:gd name="T29" fmla="*/ 67 h 147"/>
                <a:gd name="T30" fmla="*/ 128 w 128"/>
                <a:gd name="T31" fmla="*/ 83 h 147"/>
                <a:gd name="T32" fmla="*/ 32 w 128"/>
                <a:gd name="T33" fmla="*/ 83 h 147"/>
                <a:gd name="T34" fmla="*/ 97 w 128"/>
                <a:gd name="T35" fmla="*/ 59 h 147"/>
                <a:gd name="T36" fmla="*/ 89 w 128"/>
                <a:gd name="T37" fmla="*/ 34 h 147"/>
                <a:gd name="T38" fmla="*/ 67 w 128"/>
                <a:gd name="T39" fmla="*/ 25 h 147"/>
                <a:gd name="T40" fmla="*/ 44 w 128"/>
                <a:gd name="T41" fmla="*/ 34 h 147"/>
                <a:gd name="T42" fmla="*/ 32 w 128"/>
                <a:gd name="T43" fmla="*/ 59 h 147"/>
                <a:gd name="T44" fmla="*/ 97 w 128"/>
                <a:gd name="T45" fmla="*/ 5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7">
                  <a:moveTo>
                    <a:pt x="32" y="83"/>
                  </a:moveTo>
                  <a:cubicBezTo>
                    <a:pt x="33" y="96"/>
                    <a:pt x="37" y="106"/>
                    <a:pt x="44" y="112"/>
                  </a:cubicBezTo>
                  <a:cubicBezTo>
                    <a:pt x="51" y="119"/>
                    <a:pt x="61" y="122"/>
                    <a:pt x="75" y="122"/>
                  </a:cubicBezTo>
                  <a:cubicBezTo>
                    <a:pt x="83" y="122"/>
                    <a:pt x="90" y="121"/>
                    <a:pt x="98" y="118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39"/>
                    <a:pt x="104" y="142"/>
                    <a:pt x="95" y="144"/>
                  </a:cubicBezTo>
                  <a:cubicBezTo>
                    <a:pt x="86" y="146"/>
                    <a:pt x="77" y="147"/>
                    <a:pt x="67" y="147"/>
                  </a:cubicBezTo>
                  <a:cubicBezTo>
                    <a:pt x="46" y="147"/>
                    <a:pt x="29" y="141"/>
                    <a:pt x="17" y="128"/>
                  </a:cubicBezTo>
                  <a:cubicBezTo>
                    <a:pt x="6" y="115"/>
                    <a:pt x="0" y="98"/>
                    <a:pt x="0" y="75"/>
                  </a:cubicBezTo>
                  <a:cubicBezTo>
                    <a:pt x="0" y="60"/>
                    <a:pt x="3" y="47"/>
                    <a:pt x="9" y="36"/>
                  </a:cubicBezTo>
                  <a:cubicBezTo>
                    <a:pt x="14" y="24"/>
                    <a:pt x="22" y="16"/>
                    <a:pt x="33" y="9"/>
                  </a:cubicBezTo>
                  <a:cubicBezTo>
                    <a:pt x="43" y="3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6"/>
                    <a:pt x="128" y="67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7" y="59"/>
                  </a:moveTo>
                  <a:cubicBezTo>
                    <a:pt x="97" y="48"/>
                    <a:pt x="94" y="39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1" y="28"/>
                    <a:pt x="44" y="34"/>
                  </a:cubicBezTo>
                  <a:cubicBezTo>
                    <a:pt x="38" y="41"/>
                    <a:pt x="34" y="49"/>
                    <a:pt x="32" y="59"/>
                  </a:cubicBezTo>
                  <a:lnTo>
                    <a:pt x="97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2295525" y="2068513"/>
              <a:ext cx="131763" cy="230188"/>
            </a:xfrm>
            <a:custGeom>
              <a:avLst/>
              <a:gdLst>
                <a:gd name="T0" fmla="*/ 81 w 81"/>
                <a:gd name="T1" fmla="*/ 33 h 143"/>
                <a:gd name="T2" fmla="*/ 73 w 81"/>
                <a:gd name="T3" fmla="*/ 30 h 143"/>
                <a:gd name="T4" fmla="*/ 63 w 81"/>
                <a:gd name="T5" fmla="*/ 28 h 143"/>
                <a:gd name="T6" fmla="*/ 41 w 81"/>
                <a:gd name="T7" fmla="*/ 40 h 143"/>
                <a:gd name="T8" fmla="*/ 32 w 81"/>
                <a:gd name="T9" fmla="*/ 71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2 h 143"/>
                <a:gd name="T16" fmla="*/ 32 w 81"/>
                <a:gd name="T17" fmla="*/ 2 h 143"/>
                <a:gd name="T18" fmla="*/ 32 w 81"/>
                <a:gd name="T19" fmla="*/ 30 h 143"/>
                <a:gd name="T20" fmla="*/ 33 w 81"/>
                <a:gd name="T21" fmla="*/ 30 h 143"/>
                <a:gd name="T22" fmla="*/ 47 w 81"/>
                <a:gd name="T23" fmla="*/ 8 h 143"/>
                <a:gd name="T24" fmla="*/ 69 w 81"/>
                <a:gd name="T25" fmla="*/ 0 h 143"/>
                <a:gd name="T26" fmla="*/ 81 w 81"/>
                <a:gd name="T27" fmla="*/ 2 h 143"/>
                <a:gd name="T28" fmla="*/ 81 w 81"/>
                <a:gd name="T29" fmla="*/ 3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3"/>
                  </a:moveTo>
                  <a:cubicBezTo>
                    <a:pt x="80" y="32"/>
                    <a:pt x="77" y="31"/>
                    <a:pt x="73" y="30"/>
                  </a:cubicBezTo>
                  <a:cubicBezTo>
                    <a:pt x="70" y="29"/>
                    <a:pt x="66" y="28"/>
                    <a:pt x="63" y="28"/>
                  </a:cubicBezTo>
                  <a:cubicBezTo>
                    <a:pt x="54" y="28"/>
                    <a:pt x="46" y="32"/>
                    <a:pt x="41" y="40"/>
                  </a:cubicBezTo>
                  <a:cubicBezTo>
                    <a:pt x="35" y="48"/>
                    <a:pt x="32" y="58"/>
                    <a:pt x="32" y="71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6" y="20"/>
                    <a:pt x="41" y="13"/>
                    <a:pt x="47" y="8"/>
                  </a:cubicBezTo>
                  <a:cubicBezTo>
                    <a:pt x="53" y="2"/>
                    <a:pt x="60" y="0"/>
                    <a:pt x="69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466975" y="2066926"/>
              <a:ext cx="201613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27273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20 w 39"/>
                <a:gd name="T5" fmla="*/ 37 h 209"/>
                <a:gd name="T6" fmla="*/ 6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20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30" y="35"/>
                    <a:pt x="25" y="37"/>
                    <a:pt x="20" y="37"/>
                  </a:cubicBezTo>
                  <a:cubicBezTo>
                    <a:pt x="14" y="37"/>
                    <a:pt x="10" y="35"/>
                    <a:pt x="6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5" y="0"/>
                    <a:pt x="30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2824163" y="2071688"/>
              <a:ext cx="193675" cy="227013"/>
            </a:xfrm>
            <a:custGeom>
              <a:avLst/>
              <a:gdLst>
                <a:gd name="T0" fmla="*/ 46 w 122"/>
                <a:gd name="T1" fmla="*/ 117 h 143"/>
                <a:gd name="T2" fmla="*/ 122 w 122"/>
                <a:gd name="T3" fmla="*/ 117 h 143"/>
                <a:gd name="T4" fmla="*/ 122 w 122"/>
                <a:gd name="T5" fmla="*/ 143 h 143"/>
                <a:gd name="T6" fmla="*/ 0 w 122"/>
                <a:gd name="T7" fmla="*/ 143 h 143"/>
                <a:gd name="T8" fmla="*/ 0 w 122"/>
                <a:gd name="T9" fmla="*/ 132 h 143"/>
                <a:gd name="T10" fmla="*/ 77 w 122"/>
                <a:gd name="T11" fmla="*/ 26 h 143"/>
                <a:gd name="T12" fmla="*/ 8 w 122"/>
                <a:gd name="T13" fmla="*/ 26 h 143"/>
                <a:gd name="T14" fmla="*/ 8 w 122"/>
                <a:gd name="T15" fmla="*/ 0 h 143"/>
                <a:gd name="T16" fmla="*/ 122 w 122"/>
                <a:gd name="T17" fmla="*/ 0 h 143"/>
                <a:gd name="T18" fmla="*/ 122 w 122"/>
                <a:gd name="T19" fmla="*/ 12 h 143"/>
                <a:gd name="T20" fmla="*/ 46 w 122"/>
                <a:gd name="T21" fmla="*/ 1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43">
                  <a:moveTo>
                    <a:pt x="46" y="117"/>
                  </a:moveTo>
                  <a:lnTo>
                    <a:pt x="122" y="117"/>
                  </a:lnTo>
                  <a:lnTo>
                    <a:pt x="122" y="143"/>
                  </a:lnTo>
                  <a:lnTo>
                    <a:pt x="0" y="143"/>
                  </a:lnTo>
                  <a:lnTo>
                    <a:pt x="0" y="132"/>
                  </a:lnTo>
                  <a:lnTo>
                    <a:pt x="77" y="26"/>
                  </a:lnTo>
                  <a:lnTo>
                    <a:pt x="8" y="26"/>
                  </a:lnTo>
                  <a:lnTo>
                    <a:pt x="8" y="0"/>
                  </a:lnTo>
                  <a:lnTo>
                    <a:pt x="122" y="0"/>
                  </a:lnTo>
                  <a:lnTo>
                    <a:pt x="122" y="12"/>
                  </a:lnTo>
                  <a:lnTo>
                    <a:pt x="46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0575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19 w 39"/>
                <a:gd name="T5" fmla="*/ 37 h 209"/>
                <a:gd name="T6" fmla="*/ 5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19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29" y="35"/>
                    <a:pt x="25" y="37"/>
                    <a:pt x="19" y="37"/>
                  </a:cubicBezTo>
                  <a:cubicBezTo>
                    <a:pt x="14" y="37"/>
                    <a:pt x="9" y="35"/>
                    <a:pt x="5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5" y="0"/>
                    <a:pt x="29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182938" y="2066926"/>
              <a:ext cx="203200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7" name="Freeform 43"/>
            <p:cNvSpPr>
              <a:spLocks noEditPoints="1"/>
            </p:cNvSpPr>
            <p:nvPr userDrawn="1"/>
          </p:nvSpPr>
          <p:spPr bwMode="auto">
            <a:xfrm>
              <a:off x="3433763" y="2066926"/>
              <a:ext cx="220663" cy="339725"/>
            </a:xfrm>
            <a:custGeom>
              <a:avLst/>
              <a:gdLst>
                <a:gd name="T0" fmla="*/ 137 w 137"/>
                <a:gd name="T1" fmla="*/ 131 h 210"/>
                <a:gd name="T2" fmla="*/ 116 w 137"/>
                <a:gd name="T3" fmla="*/ 190 h 210"/>
                <a:gd name="T4" fmla="*/ 57 w 137"/>
                <a:gd name="T5" fmla="*/ 210 h 210"/>
                <a:gd name="T6" fmla="*/ 32 w 137"/>
                <a:gd name="T7" fmla="*/ 207 h 210"/>
                <a:gd name="T8" fmla="*/ 11 w 137"/>
                <a:gd name="T9" fmla="*/ 201 h 210"/>
                <a:gd name="T10" fmla="*/ 11 w 137"/>
                <a:gd name="T11" fmla="*/ 171 h 210"/>
                <a:gd name="T12" fmla="*/ 35 w 137"/>
                <a:gd name="T13" fmla="*/ 182 h 210"/>
                <a:gd name="T14" fmla="*/ 57 w 137"/>
                <a:gd name="T15" fmla="*/ 184 h 210"/>
                <a:gd name="T16" fmla="*/ 92 w 137"/>
                <a:gd name="T17" fmla="*/ 172 h 210"/>
                <a:gd name="T18" fmla="*/ 105 w 137"/>
                <a:gd name="T19" fmla="*/ 135 h 210"/>
                <a:gd name="T20" fmla="*/ 105 w 137"/>
                <a:gd name="T21" fmla="*/ 122 h 210"/>
                <a:gd name="T22" fmla="*/ 104 w 137"/>
                <a:gd name="T23" fmla="*/ 122 h 210"/>
                <a:gd name="T24" fmla="*/ 86 w 137"/>
                <a:gd name="T25" fmla="*/ 141 h 210"/>
                <a:gd name="T26" fmla="*/ 58 w 137"/>
                <a:gd name="T27" fmla="*/ 147 h 210"/>
                <a:gd name="T28" fmla="*/ 16 w 137"/>
                <a:gd name="T29" fmla="*/ 129 h 210"/>
                <a:gd name="T30" fmla="*/ 0 w 137"/>
                <a:gd name="T31" fmla="*/ 78 h 210"/>
                <a:gd name="T32" fmla="*/ 17 w 137"/>
                <a:gd name="T33" fmla="*/ 21 h 210"/>
                <a:gd name="T34" fmla="*/ 64 w 137"/>
                <a:gd name="T35" fmla="*/ 0 h 210"/>
                <a:gd name="T36" fmla="*/ 104 w 137"/>
                <a:gd name="T37" fmla="*/ 21 h 210"/>
                <a:gd name="T38" fmla="*/ 105 w 137"/>
                <a:gd name="T39" fmla="*/ 21 h 210"/>
                <a:gd name="T40" fmla="*/ 105 w 137"/>
                <a:gd name="T41" fmla="*/ 3 h 210"/>
                <a:gd name="T42" fmla="*/ 137 w 137"/>
                <a:gd name="T43" fmla="*/ 3 h 210"/>
                <a:gd name="T44" fmla="*/ 137 w 137"/>
                <a:gd name="T45" fmla="*/ 131 h 210"/>
                <a:gd name="T46" fmla="*/ 105 w 137"/>
                <a:gd name="T47" fmla="*/ 62 h 210"/>
                <a:gd name="T48" fmla="*/ 95 w 137"/>
                <a:gd name="T49" fmla="*/ 36 h 210"/>
                <a:gd name="T50" fmla="*/ 71 w 137"/>
                <a:gd name="T51" fmla="*/ 26 h 210"/>
                <a:gd name="T52" fmla="*/ 43 w 137"/>
                <a:gd name="T53" fmla="*/ 39 h 210"/>
                <a:gd name="T54" fmla="*/ 33 w 137"/>
                <a:gd name="T55" fmla="*/ 77 h 210"/>
                <a:gd name="T56" fmla="*/ 43 w 137"/>
                <a:gd name="T57" fmla="*/ 109 h 210"/>
                <a:gd name="T58" fmla="*/ 68 w 137"/>
                <a:gd name="T59" fmla="*/ 121 h 210"/>
                <a:gd name="T60" fmla="*/ 95 w 137"/>
                <a:gd name="T61" fmla="*/ 109 h 210"/>
                <a:gd name="T62" fmla="*/ 105 w 137"/>
                <a:gd name="T63" fmla="*/ 78 h 210"/>
                <a:gd name="T64" fmla="*/ 105 w 137"/>
                <a:gd name="T65" fmla="*/ 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210">
                  <a:moveTo>
                    <a:pt x="137" y="131"/>
                  </a:moveTo>
                  <a:cubicBezTo>
                    <a:pt x="137" y="156"/>
                    <a:pt x="130" y="176"/>
                    <a:pt x="116" y="190"/>
                  </a:cubicBezTo>
                  <a:cubicBezTo>
                    <a:pt x="102" y="203"/>
                    <a:pt x="83" y="210"/>
                    <a:pt x="57" y="210"/>
                  </a:cubicBezTo>
                  <a:cubicBezTo>
                    <a:pt x="49" y="210"/>
                    <a:pt x="40" y="209"/>
                    <a:pt x="32" y="207"/>
                  </a:cubicBezTo>
                  <a:cubicBezTo>
                    <a:pt x="23" y="206"/>
                    <a:pt x="16" y="204"/>
                    <a:pt x="11" y="201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20" y="176"/>
                    <a:pt x="28" y="180"/>
                    <a:pt x="35" y="182"/>
                  </a:cubicBezTo>
                  <a:cubicBezTo>
                    <a:pt x="42" y="184"/>
                    <a:pt x="50" y="184"/>
                    <a:pt x="57" y="184"/>
                  </a:cubicBezTo>
                  <a:cubicBezTo>
                    <a:pt x="72" y="184"/>
                    <a:pt x="84" y="180"/>
                    <a:pt x="92" y="172"/>
                  </a:cubicBezTo>
                  <a:cubicBezTo>
                    <a:pt x="101" y="164"/>
                    <a:pt x="105" y="151"/>
                    <a:pt x="105" y="135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99" y="130"/>
                    <a:pt x="93" y="136"/>
                    <a:pt x="86" y="141"/>
                  </a:cubicBezTo>
                  <a:cubicBezTo>
                    <a:pt x="79" y="145"/>
                    <a:pt x="69" y="147"/>
                    <a:pt x="58" y="147"/>
                  </a:cubicBezTo>
                  <a:cubicBezTo>
                    <a:pt x="41" y="147"/>
                    <a:pt x="26" y="141"/>
                    <a:pt x="16" y="129"/>
                  </a:cubicBezTo>
                  <a:cubicBezTo>
                    <a:pt x="5" y="116"/>
                    <a:pt x="0" y="99"/>
                    <a:pt x="0" y="78"/>
                  </a:cubicBezTo>
                  <a:cubicBezTo>
                    <a:pt x="0" y="54"/>
                    <a:pt x="6" y="35"/>
                    <a:pt x="17" y="21"/>
                  </a:cubicBezTo>
                  <a:cubicBezTo>
                    <a:pt x="29" y="7"/>
                    <a:pt x="45" y="0"/>
                    <a:pt x="64" y="0"/>
                  </a:cubicBezTo>
                  <a:cubicBezTo>
                    <a:pt x="82" y="0"/>
                    <a:pt x="95" y="7"/>
                    <a:pt x="104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37" y="3"/>
                    <a:pt x="137" y="3"/>
                    <a:pt x="137" y="3"/>
                  </a:cubicBezTo>
                  <a:lnTo>
                    <a:pt x="137" y="131"/>
                  </a:lnTo>
                  <a:close/>
                  <a:moveTo>
                    <a:pt x="105" y="62"/>
                  </a:moveTo>
                  <a:cubicBezTo>
                    <a:pt x="105" y="52"/>
                    <a:pt x="102" y="43"/>
                    <a:pt x="95" y="36"/>
                  </a:cubicBezTo>
                  <a:cubicBezTo>
                    <a:pt x="89" y="29"/>
                    <a:pt x="80" y="26"/>
                    <a:pt x="71" y="26"/>
                  </a:cubicBezTo>
                  <a:cubicBezTo>
                    <a:pt x="59" y="26"/>
                    <a:pt x="49" y="30"/>
                    <a:pt x="43" y="39"/>
                  </a:cubicBezTo>
                  <a:cubicBezTo>
                    <a:pt x="36" y="48"/>
                    <a:pt x="33" y="60"/>
                    <a:pt x="33" y="77"/>
                  </a:cubicBezTo>
                  <a:cubicBezTo>
                    <a:pt x="33" y="91"/>
                    <a:pt x="36" y="101"/>
                    <a:pt x="43" y="109"/>
                  </a:cubicBezTo>
                  <a:cubicBezTo>
                    <a:pt x="49" y="117"/>
                    <a:pt x="58" y="121"/>
                    <a:pt x="68" y="121"/>
                  </a:cubicBezTo>
                  <a:cubicBezTo>
                    <a:pt x="79" y="121"/>
                    <a:pt x="88" y="117"/>
                    <a:pt x="95" y="109"/>
                  </a:cubicBezTo>
                  <a:cubicBezTo>
                    <a:pt x="102" y="101"/>
                    <a:pt x="105" y="91"/>
                    <a:pt x="105" y="78"/>
                  </a:cubicBezTo>
                  <a:lnTo>
                    <a:pt x="105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8" name="Freeform 44"/>
            <p:cNvSpPr>
              <a:spLocks/>
            </p:cNvSpPr>
            <p:nvPr userDrawn="1"/>
          </p:nvSpPr>
          <p:spPr bwMode="auto">
            <a:xfrm>
              <a:off x="3795713" y="2058988"/>
              <a:ext cx="198438" cy="239713"/>
            </a:xfrm>
            <a:custGeom>
              <a:avLst/>
              <a:gdLst>
                <a:gd name="T0" fmla="*/ 73 w 123"/>
                <a:gd name="T1" fmla="*/ 95 h 149"/>
                <a:gd name="T2" fmla="*/ 73 w 123"/>
                <a:gd name="T3" fmla="*/ 149 h 149"/>
                <a:gd name="T4" fmla="*/ 48 w 123"/>
                <a:gd name="T5" fmla="*/ 149 h 149"/>
                <a:gd name="T6" fmla="*/ 48 w 123"/>
                <a:gd name="T7" fmla="*/ 95 h 149"/>
                <a:gd name="T8" fmla="*/ 0 w 123"/>
                <a:gd name="T9" fmla="*/ 0 h 149"/>
                <a:gd name="T10" fmla="*/ 28 w 123"/>
                <a:gd name="T11" fmla="*/ 0 h 149"/>
                <a:gd name="T12" fmla="*/ 58 w 123"/>
                <a:gd name="T13" fmla="*/ 62 h 149"/>
                <a:gd name="T14" fmla="*/ 60 w 123"/>
                <a:gd name="T15" fmla="*/ 67 h 149"/>
                <a:gd name="T16" fmla="*/ 62 w 123"/>
                <a:gd name="T17" fmla="*/ 72 h 149"/>
                <a:gd name="T18" fmla="*/ 62 w 123"/>
                <a:gd name="T19" fmla="*/ 72 h 149"/>
                <a:gd name="T20" fmla="*/ 65 w 123"/>
                <a:gd name="T21" fmla="*/ 62 h 149"/>
                <a:gd name="T22" fmla="*/ 96 w 123"/>
                <a:gd name="T23" fmla="*/ 0 h 149"/>
                <a:gd name="T24" fmla="*/ 123 w 123"/>
                <a:gd name="T25" fmla="*/ 0 h 149"/>
                <a:gd name="T26" fmla="*/ 73 w 123"/>
                <a:gd name="T27" fmla="*/ 9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49">
                  <a:moveTo>
                    <a:pt x="73" y="95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9" y="64"/>
                    <a:pt x="60" y="66"/>
                    <a:pt x="60" y="67"/>
                  </a:cubicBezTo>
                  <a:cubicBezTo>
                    <a:pt x="61" y="69"/>
                    <a:pt x="61" y="70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68"/>
                    <a:pt x="64" y="65"/>
                    <a:pt x="65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73" y="95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9" name="Freeform 45"/>
            <p:cNvSpPr>
              <a:spLocks noEditPoints="1"/>
            </p:cNvSpPr>
            <p:nvPr userDrawn="1"/>
          </p:nvSpPr>
          <p:spPr bwMode="auto">
            <a:xfrm>
              <a:off x="3967163" y="2122488"/>
              <a:ext cx="177800" cy="180975"/>
            </a:xfrm>
            <a:custGeom>
              <a:avLst/>
              <a:gdLst>
                <a:gd name="T0" fmla="*/ 110 w 110"/>
                <a:gd name="T1" fmla="*/ 55 h 112"/>
                <a:gd name="T2" fmla="*/ 95 w 110"/>
                <a:gd name="T3" fmla="*/ 96 h 112"/>
                <a:gd name="T4" fmla="*/ 54 w 110"/>
                <a:gd name="T5" fmla="*/ 112 h 112"/>
                <a:gd name="T6" fmla="*/ 15 w 110"/>
                <a:gd name="T7" fmla="*/ 97 h 112"/>
                <a:gd name="T8" fmla="*/ 0 w 110"/>
                <a:gd name="T9" fmla="*/ 57 h 112"/>
                <a:gd name="T10" fmla="*/ 15 w 110"/>
                <a:gd name="T11" fmla="*/ 15 h 112"/>
                <a:gd name="T12" fmla="*/ 56 w 110"/>
                <a:gd name="T13" fmla="*/ 0 h 112"/>
                <a:gd name="T14" fmla="*/ 96 w 110"/>
                <a:gd name="T15" fmla="*/ 14 h 112"/>
                <a:gd name="T16" fmla="*/ 110 w 110"/>
                <a:gd name="T17" fmla="*/ 55 h 112"/>
                <a:gd name="T18" fmla="*/ 85 w 110"/>
                <a:gd name="T19" fmla="*/ 55 h 112"/>
                <a:gd name="T20" fmla="*/ 77 w 110"/>
                <a:gd name="T21" fmla="*/ 29 h 112"/>
                <a:gd name="T22" fmla="*/ 55 w 110"/>
                <a:gd name="T23" fmla="*/ 19 h 112"/>
                <a:gd name="T24" fmla="*/ 33 w 110"/>
                <a:gd name="T25" fmla="*/ 29 h 112"/>
                <a:gd name="T26" fmla="*/ 25 w 110"/>
                <a:gd name="T27" fmla="*/ 56 h 112"/>
                <a:gd name="T28" fmla="*/ 33 w 110"/>
                <a:gd name="T29" fmla="*/ 82 h 112"/>
                <a:gd name="T30" fmla="*/ 55 w 110"/>
                <a:gd name="T31" fmla="*/ 92 h 112"/>
                <a:gd name="T32" fmla="*/ 77 w 110"/>
                <a:gd name="T33" fmla="*/ 83 h 112"/>
                <a:gd name="T34" fmla="*/ 85 w 110"/>
                <a:gd name="T35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12">
                  <a:moveTo>
                    <a:pt x="110" y="55"/>
                  </a:moveTo>
                  <a:cubicBezTo>
                    <a:pt x="110" y="72"/>
                    <a:pt x="105" y="86"/>
                    <a:pt x="95" y="96"/>
                  </a:cubicBezTo>
                  <a:cubicBezTo>
                    <a:pt x="85" y="106"/>
                    <a:pt x="71" y="112"/>
                    <a:pt x="54" y="112"/>
                  </a:cubicBezTo>
                  <a:cubicBezTo>
                    <a:pt x="37" y="112"/>
                    <a:pt x="24" y="107"/>
                    <a:pt x="15" y="97"/>
                  </a:cubicBezTo>
                  <a:cubicBezTo>
                    <a:pt x="5" y="87"/>
                    <a:pt x="0" y="74"/>
                    <a:pt x="0" y="57"/>
                  </a:cubicBezTo>
                  <a:cubicBezTo>
                    <a:pt x="0" y="39"/>
                    <a:pt x="5" y="25"/>
                    <a:pt x="15" y="15"/>
                  </a:cubicBezTo>
                  <a:cubicBezTo>
                    <a:pt x="25" y="5"/>
                    <a:pt x="39" y="0"/>
                    <a:pt x="56" y="0"/>
                  </a:cubicBezTo>
                  <a:cubicBezTo>
                    <a:pt x="73" y="0"/>
                    <a:pt x="86" y="5"/>
                    <a:pt x="96" y="14"/>
                  </a:cubicBezTo>
                  <a:cubicBezTo>
                    <a:pt x="105" y="24"/>
                    <a:pt x="110" y="38"/>
                    <a:pt x="110" y="55"/>
                  </a:cubicBezTo>
                  <a:close/>
                  <a:moveTo>
                    <a:pt x="85" y="55"/>
                  </a:moveTo>
                  <a:cubicBezTo>
                    <a:pt x="85" y="44"/>
                    <a:pt x="82" y="35"/>
                    <a:pt x="77" y="29"/>
                  </a:cubicBezTo>
                  <a:cubicBezTo>
                    <a:pt x="71" y="22"/>
                    <a:pt x="64" y="19"/>
                    <a:pt x="55" y="19"/>
                  </a:cubicBezTo>
                  <a:cubicBezTo>
                    <a:pt x="46" y="19"/>
                    <a:pt x="38" y="23"/>
                    <a:pt x="33" y="29"/>
                  </a:cubicBezTo>
                  <a:cubicBezTo>
                    <a:pt x="28" y="35"/>
                    <a:pt x="25" y="44"/>
                    <a:pt x="25" y="56"/>
                  </a:cubicBezTo>
                  <a:cubicBezTo>
                    <a:pt x="25" y="67"/>
                    <a:pt x="28" y="76"/>
                    <a:pt x="33" y="82"/>
                  </a:cubicBezTo>
                  <a:cubicBezTo>
                    <a:pt x="38" y="89"/>
                    <a:pt x="46" y="92"/>
                    <a:pt x="55" y="92"/>
                  </a:cubicBezTo>
                  <a:cubicBezTo>
                    <a:pt x="65" y="92"/>
                    <a:pt x="72" y="89"/>
                    <a:pt x="77" y="83"/>
                  </a:cubicBezTo>
                  <a:cubicBezTo>
                    <a:pt x="82" y="76"/>
                    <a:pt x="85" y="67"/>
                    <a:pt x="85" y="55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0" name="Freeform 46"/>
            <p:cNvSpPr>
              <a:spLocks/>
            </p:cNvSpPr>
            <p:nvPr userDrawn="1"/>
          </p:nvSpPr>
          <p:spPr bwMode="auto">
            <a:xfrm>
              <a:off x="4181475" y="2125663"/>
              <a:ext cx="153988" cy="177800"/>
            </a:xfrm>
            <a:custGeom>
              <a:avLst/>
              <a:gdLst>
                <a:gd name="T0" fmla="*/ 71 w 95"/>
                <a:gd name="T1" fmla="*/ 107 h 110"/>
                <a:gd name="T2" fmla="*/ 71 w 95"/>
                <a:gd name="T3" fmla="*/ 91 h 110"/>
                <a:gd name="T4" fmla="*/ 70 w 95"/>
                <a:gd name="T5" fmla="*/ 91 h 110"/>
                <a:gd name="T6" fmla="*/ 57 w 95"/>
                <a:gd name="T7" fmla="*/ 105 h 110"/>
                <a:gd name="T8" fmla="*/ 38 w 95"/>
                <a:gd name="T9" fmla="*/ 110 h 110"/>
                <a:gd name="T10" fmla="*/ 10 w 95"/>
                <a:gd name="T11" fmla="*/ 98 h 110"/>
                <a:gd name="T12" fmla="*/ 0 w 95"/>
                <a:gd name="T13" fmla="*/ 65 h 110"/>
                <a:gd name="T14" fmla="*/ 0 w 95"/>
                <a:gd name="T15" fmla="*/ 0 h 110"/>
                <a:gd name="T16" fmla="*/ 24 w 95"/>
                <a:gd name="T17" fmla="*/ 0 h 110"/>
                <a:gd name="T18" fmla="*/ 24 w 95"/>
                <a:gd name="T19" fmla="*/ 62 h 110"/>
                <a:gd name="T20" fmla="*/ 46 w 95"/>
                <a:gd name="T21" fmla="*/ 90 h 110"/>
                <a:gd name="T22" fmla="*/ 64 w 95"/>
                <a:gd name="T23" fmla="*/ 82 h 110"/>
                <a:gd name="T24" fmla="*/ 71 w 95"/>
                <a:gd name="T25" fmla="*/ 62 h 110"/>
                <a:gd name="T26" fmla="*/ 71 w 95"/>
                <a:gd name="T27" fmla="*/ 0 h 110"/>
                <a:gd name="T28" fmla="*/ 95 w 95"/>
                <a:gd name="T29" fmla="*/ 0 h 110"/>
                <a:gd name="T30" fmla="*/ 95 w 95"/>
                <a:gd name="T31" fmla="*/ 107 h 110"/>
                <a:gd name="T32" fmla="*/ 71 w 95"/>
                <a:gd name="T33" fmla="*/ 10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10">
                  <a:moveTo>
                    <a:pt x="71" y="107"/>
                  </a:moveTo>
                  <a:cubicBezTo>
                    <a:pt x="71" y="91"/>
                    <a:pt x="71" y="91"/>
                    <a:pt x="71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7" y="97"/>
                    <a:pt x="62" y="101"/>
                    <a:pt x="57" y="105"/>
                  </a:cubicBezTo>
                  <a:cubicBezTo>
                    <a:pt x="51" y="108"/>
                    <a:pt x="45" y="110"/>
                    <a:pt x="38" y="110"/>
                  </a:cubicBezTo>
                  <a:cubicBezTo>
                    <a:pt x="26" y="110"/>
                    <a:pt x="16" y="106"/>
                    <a:pt x="10" y="98"/>
                  </a:cubicBezTo>
                  <a:cubicBezTo>
                    <a:pt x="3" y="91"/>
                    <a:pt x="0" y="80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81"/>
                    <a:pt x="32" y="90"/>
                    <a:pt x="46" y="90"/>
                  </a:cubicBezTo>
                  <a:cubicBezTo>
                    <a:pt x="54" y="90"/>
                    <a:pt x="59" y="87"/>
                    <a:pt x="64" y="82"/>
                  </a:cubicBezTo>
                  <a:cubicBezTo>
                    <a:pt x="68" y="77"/>
                    <a:pt x="71" y="70"/>
                    <a:pt x="71" y="6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107"/>
                    <a:pt x="95" y="107"/>
                    <a:pt x="95" y="107"/>
                  </a:cubicBezTo>
                  <a:lnTo>
                    <a:pt x="71" y="107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1" name="Freeform 47"/>
            <p:cNvSpPr>
              <a:spLocks/>
            </p:cNvSpPr>
            <p:nvPr userDrawn="1"/>
          </p:nvSpPr>
          <p:spPr bwMode="auto">
            <a:xfrm>
              <a:off x="4379913" y="2122488"/>
              <a:ext cx="100013" cy="176213"/>
            </a:xfrm>
            <a:custGeom>
              <a:avLst/>
              <a:gdLst>
                <a:gd name="T0" fmla="*/ 62 w 62"/>
                <a:gd name="T1" fmla="*/ 26 h 109"/>
                <a:gd name="T2" fmla="*/ 55 w 62"/>
                <a:gd name="T3" fmla="*/ 23 h 109"/>
                <a:gd name="T4" fmla="*/ 48 w 62"/>
                <a:gd name="T5" fmla="*/ 22 h 109"/>
                <a:gd name="T6" fmla="*/ 31 w 62"/>
                <a:gd name="T7" fmla="*/ 31 h 109"/>
                <a:gd name="T8" fmla="*/ 24 w 62"/>
                <a:gd name="T9" fmla="*/ 54 h 109"/>
                <a:gd name="T10" fmla="*/ 24 w 62"/>
                <a:gd name="T11" fmla="*/ 109 h 109"/>
                <a:gd name="T12" fmla="*/ 0 w 62"/>
                <a:gd name="T13" fmla="*/ 109 h 109"/>
                <a:gd name="T14" fmla="*/ 0 w 62"/>
                <a:gd name="T15" fmla="*/ 2 h 109"/>
                <a:gd name="T16" fmla="*/ 24 w 62"/>
                <a:gd name="T17" fmla="*/ 2 h 109"/>
                <a:gd name="T18" fmla="*/ 24 w 62"/>
                <a:gd name="T19" fmla="*/ 23 h 109"/>
                <a:gd name="T20" fmla="*/ 25 w 62"/>
                <a:gd name="T21" fmla="*/ 23 h 109"/>
                <a:gd name="T22" fmla="*/ 35 w 62"/>
                <a:gd name="T23" fmla="*/ 6 h 109"/>
                <a:gd name="T24" fmla="*/ 52 w 62"/>
                <a:gd name="T25" fmla="*/ 0 h 109"/>
                <a:gd name="T26" fmla="*/ 62 w 62"/>
                <a:gd name="T27" fmla="*/ 2 h 109"/>
                <a:gd name="T28" fmla="*/ 62 w 62"/>
                <a:gd name="T29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09">
                  <a:moveTo>
                    <a:pt x="62" y="26"/>
                  </a:moveTo>
                  <a:cubicBezTo>
                    <a:pt x="60" y="25"/>
                    <a:pt x="58" y="24"/>
                    <a:pt x="55" y="23"/>
                  </a:cubicBezTo>
                  <a:cubicBezTo>
                    <a:pt x="53" y="22"/>
                    <a:pt x="50" y="22"/>
                    <a:pt x="48" y="22"/>
                  </a:cubicBezTo>
                  <a:cubicBezTo>
                    <a:pt x="41" y="22"/>
                    <a:pt x="35" y="25"/>
                    <a:pt x="31" y="31"/>
                  </a:cubicBezTo>
                  <a:cubicBezTo>
                    <a:pt x="26" y="37"/>
                    <a:pt x="24" y="45"/>
                    <a:pt x="24" y="54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7" y="16"/>
                    <a:pt x="31" y="10"/>
                    <a:pt x="35" y="6"/>
                  </a:cubicBezTo>
                  <a:cubicBezTo>
                    <a:pt x="40" y="2"/>
                    <a:pt x="46" y="0"/>
                    <a:pt x="52" y="0"/>
                  </a:cubicBezTo>
                  <a:cubicBezTo>
                    <a:pt x="56" y="0"/>
                    <a:pt x="59" y="1"/>
                    <a:pt x="62" y="2"/>
                  </a:cubicBezTo>
                  <a:lnTo>
                    <a:pt x="62" y="26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1404553" y="2845307"/>
            <a:ext cx="3219971" cy="336207"/>
            <a:chOff x="1500188" y="2508251"/>
            <a:chExt cx="3284538" cy="342900"/>
          </a:xfrm>
        </p:grpSpPr>
        <p:sp>
          <p:nvSpPr>
            <p:cNvPr id="52" name="Freeform 48"/>
            <p:cNvSpPr>
              <a:spLocks noEditPoints="1"/>
            </p:cNvSpPr>
            <p:nvPr userDrawn="1"/>
          </p:nvSpPr>
          <p:spPr bwMode="auto">
            <a:xfrm>
              <a:off x="1500188" y="2527301"/>
              <a:ext cx="268288" cy="317500"/>
            </a:xfrm>
            <a:custGeom>
              <a:avLst/>
              <a:gdLst>
                <a:gd name="T0" fmla="*/ 166 w 166"/>
                <a:gd name="T1" fmla="*/ 96 h 196"/>
                <a:gd name="T2" fmla="*/ 153 w 166"/>
                <a:gd name="T3" fmla="*/ 149 h 196"/>
                <a:gd name="T4" fmla="*/ 115 w 166"/>
                <a:gd name="T5" fmla="*/ 184 h 196"/>
                <a:gd name="T6" fmla="*/ 59 w 166"/>
                <a:gd name="T7" fmla="*/ 196 h 196"/>
                <a:gd name="T8" fmla="*/ 0 w 166"/>
                <a:gd name="T9" fmla="*/ 196 h 196"/>
                <a:gd name="T10" fmla="*/ 0 w 166"/>
                <a:gd name="T11" fmla="*/ 0 h 196"/>
                <a:gd name="T12" fmla="*/ 61 w 166"/>
                <a:gd name="T13" fmla="*/ 0 h 196"/>
                <a:gd name="T14" fmla="*/ 140 w 166"/>
                <a:gd name="T15" fmla="*/ 24 h 196"/>
                <a:gd name="T16" fmla="*/ 166 w 166"/>
                <a:gd name="T17" fmla="*/ 96 h 196"/>
                <a:gd name="T18" fmla="*/ 131 w 166"/>
                <a:gd name="T19" fmla="*/ 96 h 196"/>
                <a:gd name="T20" fmla="*/ 113 w 166"/>
                <a:gd name="T21" fmla="*/ 45 h 196"/>
                <a:gd name="T22" fmla="*/ 59 w 166"/>
                <a:gd name="T23" fmla="*/ 28 h 196"/>
                <a:gd name="T24" fmla="*/ 32 w 166"/>
                <a:gd name="T25" fmla="*/ 28 h 196"/>
                <a:gd name="T26" fmla="*/ 32 w 166"/>
                <a:gd name="T27" fmla="*/ 168 h 196"/>
                <a:gd name="T28" fmla="*/ 59 w 166"/>
                <a:gd name="T29" fmla="*/ 168 h 196"/>
                <a:gd name="T30" fmla="*/ 112 w 166"/>
                <a:gd name="T31" fmla="*/ 149 h 196"/>
                <a:gd name="T32" fmla="*/ 131 w 166"/>
                <a:gd name="T33" fmla="*/ 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96">
                  <a:moveTo>
                    <a:pt x="166" y="96"/>
                  </a:moveTo>
                  <a:cubicBezTo>
                    <a:pt x="166" y="116"/>
                    <a:pt x="162" y="133"/>
                    <a:pt x="153" y="149"/>
                  </a:cubicBezTo>
                  <a:cubicBezTo>
                    <a:pt x="144" y="164"/>
                    <a:pt x="132" y="176"/>
                    <a:pt x="115" y="184"/>
                  </a:cubicBezTo>
                  <a:cubicBezTo>
                    <a:pt x="99" y="192"/>
                    <a:pt x="80" y="196"/>
                    <a:pt x="59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6" y="0"/>
                    <a:pt x="122" y="8"/>
                    <a:pt x="140" y="24"/>
                  </a:cubicBezTo>
                  <a:cubicBezTo>
                    <a:pt x="157" y="40"/>
                    <a:pt x="166" y="64"/>
                    <a:pt x="166" y="96"/>
                  </a:cubicBezTo>
                  <a:close/>
                  <a:moveTo>
                    <a:pt x="131" y="96"/>
                  </a:moveTo>
                  <a:cubicBezTo>
                    <a:pt x="131" y="74"/>
                    <a:pt x="125" y="57"/>
                    <a:pt x="113" y="45"/>
                  </a:cubicBezTo>
                  <a:cubicBezTo>
                    <a:pt x="100" y="34"/>
                    <a:pt x="82" y="28"/>
                    <a:pt x="59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8"/>
                    <a:pt x="32" y="168"/>
                    <a:pt x="32" y="16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82" y="168"/>
                    <a:pt x="100" y="162"/>
                    <a:pt x="112" y="149"/>
                  </a:cubicBezTo>
                  <a:cubicBezTo>
                    <a:pt x="125" y="136"/>
                    <a:pt x="131" y="119"/>
                    <a:pt x="131" y="96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3" name="Freeform 49"/>
            <p:cNvSpPr>
              <a:spLocks noEditPoints="1"/>
            </p:cNvSpPr>
            <p:nvPr userDrawn="1"/>
          </p:nvSpPr>
          <p:spPr bwMode="auto">
            <a:xfrm>
              <a:off x="1801813" y="2611438"/>
              <a:ext cx="192088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5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2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5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2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6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4" name="Freeform 50"/>
            <p:cNvSpPr>
              <a:spLocks/>
            </p:cNvSpPr>
            <p:nvPr userDrawn="1"/>
          </p:nvSpPr>
          <p:spPr bwMode="auto">
            <a:xfrm>
              <a:off x="2019300" y="2549526"/>
              <a:ext cx="144463" cy="301625"/>
            </a:xfrm>
            <a:custGeom>
              <a:avLst/>
              <a:gdLst>
                <a:gd name="T0" fmla="*/ 89 w 89"/>
                <a:gd name="T1" fmla="*/ 181 h 186"/>
                <a:gd name="T2" fmla="*/ 79 w 89"/>
                <a:gd name="T3" fmla="*/ 184 h 186"/>
                <a:gd name="T4" fmla="*/ 64 w 89"/>
                <a:gd name="T5" fmla="*/ 186 h 186"/>
                <a:gd name="T6" fmla="*/ 23 w 89"/>
                <a:gd name="T7" fmla="*/ 141 h 186"/>
                <a:gd name="T8" fmla="*/ 23 w 89"/>
                <a:gd name="T9" fmla="*/ 67 h 186"/>
                <a:gd name="T10" fmla="*/ 0 w 89"/>
                <a:gd name="T11" fmla="*/ 67 h 186"/>
                <a:gd name="T12" fmla="*/ 0 w 89"/>
                <a:gd name="T13" fmla="*/ 42 h 186"/>
                <a:gd name="T14" fmla="*/ 23 w 89"/>
                <a:gd name="T15" fmla="*/ 42 h 186"/>
                <a:gd name="T16" fmla="*/ 23 w 89"/>
                <a:gd name="T17" fmla="*/ 9 h 186"/>
                <a:gd name="T18" fmla="*/ 55 w 89"/>
                <a:gd name="T19" fmla="*/ 0 h 186"/>
                <a:gd name="T20" fmla="*/ 55 w 89"/>
                <a:gd name="T21" fmla="*/ 42 h 186"/>
                <a:gd name="T22" fmla="*/ 89 w 89"/>
                <a:gd name="T23" fmla="*/ 42 h 186"/>
                <a:gd name="T24" fmla="*/ 89 w 89"/>
                <a:gd name="T25" fmla="*/ 67 h 186"/>
                <a:gd name="T26" fmla="*/ 55 w 89"/>
                <a:gd name="T27" fmla="*/ 67 h 186"/>
                <a:gd name="T28" fmla="*/ 55 w 89"/>
                <a:gd name="T29" fmla="*/ 135 h 186"/>
                <a:gd name="T30" fmla="*/ 60 w 89"/>
                <a:gd name="T31" fmla="*/ 154 h 186"/>
                <a:gd name="T32" fmla="*/ 75 w 89"/>
                <a:gd name="T33" fmla="*/ 160 h 186"/>
                <a:gd name="T34" fmla="*/ 82 w 89"/>
                <a:gd name="T35" fmla="*/ 159 h 186"/>
                <a:gd name="T36" fmla="*/ 89 w 89"/>
                <a:gd name="T37" fmla="*/ 156 h 186"/>
                <a:gd name="T38" fmla="*/ 89 w 89"/>
                <a:gd name="T39" fmla="*/ 18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186">
                  <a:moveTo>
                    <a:pt x="89" y="181"/>
                  </a:moveTo>
                  <a:cubicBezTo>
                    <a:pt x="87" y="182"/>
                    <a:pt x="83" y="183"/>
                    <a:pt x="79" y="184"/>
                  </a:cubicBezTo>
                  <a:cubicBezTo>
                    <a:pt x="74" y="185"/>
                    <a:pt x="69" y="186"/>
                    <a:pt x="64" y="186"/>
                  </a:cubicBezTo>
                  <a:cubicBezTo>
                    <a:pt x="37" y="186"/>
                    <a:pt x="23" y="171"/>
                    <a:pt x="23" y="141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5" y="144"/>
                    <a:pt x="56" y="151"/>
                    <a:pt x="60" y="154"/>
                  </a:cubicBezTo>
                  <a:cubicBezTo>
                    <a:pt x="63" y="158"/>
                    <a:pt x="68" y="160"/>
                    <a:pt x="75" y="160"/>
                  </a:cubicBezTo>
                  <a:cubicBezTo>
                    <a:pt x="77" y="160"/>
                    <a:pt x="79" y="160"/>
                    <a:pt x="82" y="159"/>
                  </a:cubicBezTo>
                  <a:cubicBezTo>
                    <a:pt x="85" y="158"/>
                    <a:pt x="87" y="157"/>
                    <a:pt x="89" y="156"/>
                  </a:cubicBezTo>
                  <a:lnTo>
                    <a:pt x="89" y="181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5" name="Freeform 51"/>
            <p:cNvSpPr>
              <a:spLocks noEditPoints="1"/>
            </p:cNvSpPr>
            <p:nvPr userDrawn="1"/>
          </p:nvSpPr>
          <p:spPr bwMode="auto">
            <a:xfrm>
              <a:off x="2190750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6" name="Freeform 52"/>
            <p:cNvSpPr>
              <a:spLocks/>
            </p:cNvSpPr>
            <p:nvPr userDrawn="1"/>
          </p:nvSpPr>
          <p:spPr bwMode="auto">
            <a:xfrm>
              <a:off x="2514600" y="2527301"/>
              <a:ext cx="436563" cy="317500"/>
            </a:xfrm>
            <a:custGeom>
              <a:avLst/>
              <a:gdLst>
                <a:gd name="T0" fmla="*/ 215 w 269"/>
                <a:gd name="T1" fmla="*/ 196 h 196"/>
                <a:gd name="T2" fmla="*/ 176 w 269"/>
                <a:gd name="T3" fmla="*/ 196 h 196"/>
                <a:gd name="T4" fmla="*/ 139 w 269"/>
                <a:gd name="T5" fmla="*/ 59 h 196"/>
                <a:gd name="T6" fmla="*/ 136 w 269"/>
                <a:gd name="T7" fmla="*/ 38 h 196"/>
                <a:gd name="T8" fmla="*/ 135 w 269"/>
                <a:gd name="T9" fmla="*/ 38 h 196"/>
                <a:gd name="T10" fmla="*/ 134 w 269"/>
                <a:gd name="T11" fmla="*/ 50 h 196"/>
                <a:gd name="T12" fmla="*/ 132 w 269"/>
                <a:gd name="T13" fmla="*/ 59 h 196"/>
                <a:gd name="T14" fmla="*/ 95 w 269"/>
                <a:gd name="T15" fmla="*/ 196 h 196"/>
                <a:gd name="T16" fmla="*/ 56 w 269"/>
                <a:gd name="T17" fmla="*/ 196 h 196"/>
                <a:gd name="T18" fmla="*/ 0 w 269"/>
                <a:gd name="T19" fmla="*/ 0 h 196"/>
                <a:gd name="T20" fmla="*/ 36 w 269"/>
                <a:gd name="T21" fmla="*/ 0 h 196"/>
                <a:gd name="T22" fmla="*/ 73 w 269"/>
                <a:gd name="T23" fmla="*/ 142 h 196"/>
                <a:gd name="T24" fmla="*/ 76 w 269"/>
                <a:gd name="T25" fmla="*/ 164 h 196"/>
                <a:gd name="T26" fmla="*/ 76 w 269"/>
                <a:gd name="T27" fmla="*/ 164 h 196"/>
                <a:gd name="T28" fmla="*/ 80 w 269"/>
                <a:gd name="T29" fmla="*/ 142 h 196"/>
                <a:gd name="T30" fmla="*/ 120 w 269"/>
                <a:gd name="T31" fmla="*/ 0 h 196"/>
                <a:gd name="T32" fmla="*/ 155 w 269"/>
                <a:gd name="T33" fmla="*/ 0 h 196"/>
                <a:gd name="T34" fmla="*/ 192 w 269"/>
                <a:gd name="T35" fmla="*/ 144 h 196"/>
                <a:gd name="T36" fmla="*/ 195 w 269"/>
                <a:gd name="T37" fmla="*/ 163 h 196"/>
                <a:gd name="T38" fmla="*/ 196 w 269"/>
                <a:gd name="T39" fmla="*/ 163 h 196"/>
                <a:gd name="T40" fmla="*/ 199 w 269"/>
                <a:gd name="T41" fmla="*/ 143 h 196"/>
                <a:gd name="T42" fmla="*/ 234 w 269"/>
                <a:gd name="T43" fmla="*/ 0 h 196"/>
                <a:gd name="T44" fmla="*/ 269 w 269"/>
                <a:gd name="T45" fmla="*/ 0 h 196"/>
                <a:gd name="T46" fmla="*/ 215 w 269"/>
                <a:gd name="T4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196">
                  <a:moveTo>
                    <a:pt x="215" y="196"/>
                  </a:moveTo>
                  <a:cubicBezTo>
                    <a:pt x="176" y="196"/>
                    <a:pt x="176" y="196"/>
                    <a:pt x="176" y="196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37" y="53"/>
                    <a:pt x="136" y="46"/>
                    <a:pt x="136" y="38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35" y="42"/>
                    <a:pt x="134" y="45"/>
                    <a:pt x="134" y="50"/>
                  </a:cubicBezTo>
                  <a:cubicBezTo>
                    <a:pt x="133" y="55"/>
                    <a:pt x="132" y="58"/>
                    <a:pt x="132" y="59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4" y="146"/>
                    <a:pt x="75" y="153"/>
                    <a:pt x="76" y="164"/>
                  </a:cubicBezTo>
                  <a:cubicBezTo>
                    <a:pt x="76" y="164"/>
                    <a:pt x="76" y="164"/>
                    <a:pt x="76" y="164"/>
                  </a:cubicBezTo>
                  <a:cubicBezTo>
                    <a:pt x="77" y="158"/>
                    <a:pt x="78" y="151"/>
                    <a:pt x="80" y="142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94" y="148"/>
                    <a:pt x="195" y="155"/>
                    <a:pt x="195" y="163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196" y="157"/>
                    <a:pt x="197" y="150"/>
                    <a:pt x="199" y="143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69" y="0"/>
                    <a:pt x="269" y="0"/>
                    <a:pt x="269" y="0"/>
                  </a:cubicBezTo>
                  <a:lnTo>
                    <a:pt x="215" y="196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7" name="Freeform 53"/>
            <p:cNvSpPr>
              <a:spLocks noEditPoints="1"/>
            </p:cNvSpPr>
            <p:nvPr userDrawn="1"/>
          </p:nvSpPr>
          <p:spPr bwMode="auto">
            <a:xfrm>
              <a:off x="2955925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3 w 118"/>
                <a:gd name="T23" fmla="*/ 41 h 148"/>
                <a:gd name="T24" fmla="*/ 13 w 118"/>
                <a:gd name="T25" fmla="*/ 13 h 148"/>
                <a:gd name="T26" fmla="*/ 36 w 118"/>
                <a:gd name="T27" fmla="*/ 4 h 148"/>
                <a:gd name="T28" fmla="*/ 63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6 w 118"/>
                <a:gd name="T51" fmla="*/ 80 h 148"/>
                <a:gd name="T52" fmla="*/ 36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3" y="41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3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7" y="123"/>
                    <a:pt x="54" y="123"/>
                  </a:cubicBezTo>
                  <a:cubicBezTo>
                    <a:pt x="64" y="123"/>
                    <a:pt x="71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47" y="81"/>
                    <a:pt x="40" y="84"/>
                    <a:pt x="36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8" name="Freeform 54"/>
            <p:cNvSpPr>
              <a:spLocks/>
            </p:cNvSpPr>
            <p:nvPr userDrawn="1"/>
          </p:nvSpPr>
          <p:spPr bwMode="auto">
            <a:xfrm>
              <a:off x="3205163" y="2613026"/>
              <a:ext cx="130175" cy="231775"/>
            </a:xfrm>
            <a:custGeom>
              <a:avLst/>
              <a:gdLst>
                <a:gd name="T0" fmla="*/ 81 w 81"/>
                <a:gd name="T1" fmla="*/ 34 h 143"/>
                <a:gd name="T2" fmla="*/ 73 w 81"/>
                <a:gd name="T3" fmla="*/ 30 h 143"/>
                <a:gd name="T4" fmla="*/ 63 w 81"/>
                <a:gd name="T5" fmla="*/ 29 h 143"/>
                <a:gd name="T6" fmla="*/ 40 w 81"/>
                <a:gd name="T7" fmla="*/ 41 h 143"/>
                <a:gd name="T8" fmla="*/ 32 w 81"/>
                <a:gd name="T9" fmla="*/ 72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3 h 143"/>
                <a:gd name="T16" fmla="*/ 32 w 81"/>
                <a:gd name="T17" fmla="*/ 3 h 143"/>
                <a:gd name="T18" fmla="*/ 32 w 81"/>
                <a:gd name="T19" fmla="*/ 30 h 143"/>
                <a:gd name="T20" fmla="*/ 32 w 81"/>
                <a:gd name="T21" fmla="*/ 30 h 143"/>
                <a:gd name="T22" fmla="*/ 47 w 81"/>
                <a:gd name="T23" fmla="*/ 8 h 143"/>
                <a:gd name="T24" fmla="*/ 68 w 81"/>
                <a:gd name="T25" fmla="*/ 0 h 143"/>
                <a:gd name="T26" fmla="*/ 81 w 81"/>
                <a:gd name="T27" fmla="*/ 2 h 143"/>
                <a:gd name="T28" fmla="*/ 81 w 81"/>
                <a:gd name="T29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4"/>
                  </a:moveTo>
                  <a:cubicBezTo>
                    <a:pt x="79" y="33"/>
                    <a:pt x="77" y="31"/>
                    <a:pt x="73" y="30"/>
                  </a:cubicBezTo>
                  <a:cubicBezTo>
                    <a:pt x="69" y="29"/>
                    <a:pt x="66" y="29"/>
                    <a:pt x="63" y="29"/>
                  </a:cubicBezTo>
                  <a:cubicBezTo>
                    <a:pt x="53" y="29"/>
                    <a:pt x="46" y="33"/>
                    <a:pt x="40" y="41"/>
                  </a:cubicBezTo>
                  <a:cubicBezTo>
                    <a:pt x="35" y="49"/>
                    <a:pt x="32" y="59"/>
                    <a:pt x="32" y="72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5" y="21"/>
                    <a:pt x="40" y="13"/>
                    <a:pt x="47" y="8"/>
                  </a:cubicBezTo>
                  <a:cubicBezTo>
                    <a:pt x="53" y="3"/>
                    <a:pt x="60" y="0"/>
                    <a:pt x="68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4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9" name="Freeform 55"/>
            <p:cNvSpPr>
              <a:spLocks noEditPoints="1"/>
            </p:cNvSpPr>
            <p:nvPr userDrawn="1"/>
          </p:nvSpPr>
          <p:spPr bwMode="auto">
            <a:xfrm>
              <a:off x="3348038" y="2611438"/>
              <a:ext cx="207963" cy="239713"/>
            </a:xfrm>
            <a:custGeom>
              <a:avLst/>
              <a:gdLst>
                <a:gd name="T0" fmla="*/ 32 w 128"/>
                <a:gd name="T1" fmla="*/ 83 h 148"/>
                <a:gd name="T2" fmla="*/ 44 w 128"/>
                <a:gd name="T3" fmla="*/ 113 h 148"/>
                <a:gd name="T4" fmla="*/ 75 w 128"/>
                <a:gd name="T5" fmla="*/ 123 h 148"/>
                <a:gd name="T6" fmla="*/ 97 w 128"/>
                <a:gd name="T7" fmla="*/ 119 h 148"/>
                <a:gd name="T8" fmla="*/ 117 w 128"/>
                <a:gd name="T9" fmla="*/ 109 h 148"/>
                <a:gd name="T10" fmla="*/ 117 w 128"/>
                <a:gd name="T11" fmla="*/ 136 h 148"/>
                <a:gd name="T12" fmla="*/ 95 w 128"/>
                <a:gd name="T13" fmla="*/ 145 h 148"/>
                <a:gd name="T14" fmla="*/ 67 w 128"/>
                <a:gd name="T15" fmla="*/ 148 h 148"/>
                <a:gd name="T16" fmla="*/ 17 w 128"/>
                <a:gd name="T17" fmla="*/ 129 h 148"/>
                <a:gd name="T18" fmla="*/ 0 w 128"/>
                <a:gd name="T19" fmla="*/ 76 h 148"/>
                <a:gd name="T20" fmla="*/ 8 w 128"/>
                <a:gd name="T21" fmla="*/ 36 h 148"/>
                <a:gd name="T22" fmla="*/ 33 w 128"/>
                <a:gd name="T23" fmla="*/ 10 h 148"/>
                <a:gd name="T24" fmla="*/ 67 w 128"/>
                <a:gd name="T25" fmla="*/ 0 h 148"/>
                <a:gd name="T26" fmla="*/ 112 w 128"/>
                <a:gd name="T27" fmla="*/ 18 h 148"/>
                <a:gd name="T28" fmla="*/ 128 w 128"/>
                <a:gd name="T29" fmla="*/ 68 h 148"/>
                <a:gd name="T30" fmla="*/ 128 w 128"/>
                <a:gd name="T31" fmla="*/ 83 h 148"/>
                <a:gd name="T32" fmla="*/ 32 w 128"/>
                <a:gd name="T33" fmla="*/ 83 h 148"/>
                <a:gd name="T34" fmla="*/ 96 w 128"/>
                <a:gd name="T35" fmla="*/ 60 h 148"/>
                <a:gd name="T36" fmla="*/ 89 w 128"/>
                <a:gd name="T37" fmla="*/ 34 h 148"/>
                <a:gd name="T38" fmla="*/ 67 w 128"/>
                <a:gd name="T39" fmla="*/ 25 h 148"/>
                <a:gd name="T40" fmla="*/ 44 w 128"/>
                <a:gd name="T41" fmla="*/ 35 h 148"/>
                <a:gd name="T42" fmla="*/ 32 w 128"/>
                <a:gd name="T43" fmla="*/ 60 h 148"/>
                <a:gd name="T44" fmla="*/ 96 w 128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8">
                  <a:moveTo>
                    <a:pt x="32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1" y="119"/>
                    <a:pt x="61" y="123"/>
                    <a:pt x="75" y="123"/>
                  </a:cubicBezTo>
                  <a:cubicBezTo>
                    <a:pt x="82" y="123"/>
                    <a:pt x="90" y="122"/>
                    <a:pt x="97" y="119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1" y="140"/>
                    <a:pt x="104" y="142"/>
                    <a:pt x="95" y="145"/>
                  </a:cubicBezTo>
                  <a:cubicBezTo>
                    <a:pt x="86" y="147"/>
                    <a:pt x="77" y="148"/>
                    <a:pt x="67" y="148"/>
                  </a:cubicBezTo>
                  <a:cubicBezTo>
                    <a:pt x="45" y="148"/>
                    <a:pt x="29" y="142"/>
                    <a:pt x="17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8" y="36"/>
                  </a:cubicBezTo>
                  <a:cubicBezTo>
                    <a:pt x="14" y="25"/>
                    <a:pt x="22" y="16"/>
                    <a:pt x="33" y="10"/>
                  </a:cubicBezTo>
                  <a:cubicBezTo>
                    <a:pt x="43" y="4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7"/>
                    <a:pt x="128" y="68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6" y="60"/>
                  </a:moveTo>
                  <a:cubicBezTo>
                    <a:pt x="96" y="48"/>
                    <a:pt x="94" y="40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0" y="28"/>
                    <a:pt x="44" y="35"/>
                  </a:cubicBezTo>
                  <a:cubicBezTo>
                    <a:pt x="38" y="41"/>
                    <a:pt x="34" y="49"/>
                    <a:pt x="32" y="60"/>
                  </a:cubicBezTo>
                  <a:lnTo>
                    <a:pt x="96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auto">
            <a:xfrm>
              <a:off x="3605213" y="2508251"/>
              <a:ext cx="201613" cy="336550"/>
            </a:xfrm>
            <a:custGeom>
              <a:avLst/>
              <a:gdLst>
                <a:gd name="T0" fmla="*/ 93 w 125"/>
                <a:gd name="T1" fmla="*/ 208 h 208"/>
                <a:gd name="T2" fmla="*/ 93 w 125"/>
                <a:gd name="T3" fmla="*/ 129 h 208"/>
                <a:gd name="T4" fmla="*/ 86 w 125"/>
                <a:gd name="T5" fmla="*/ 100 h 208"/>
                <a:gd name="T6" fmla="*/ 65 w 125"/>
                <a:gd name="T7" fmla="*/ 90 h 208"/>
                <a:gd name="T8" fmla="*/ 41 w 125"/>
                <a:gd name="T9" fmla="*/ 101 h 208"/>
                <a:gd name="T10" fmla="*/ 32 w 125"/>
                <a:gd name="T11" fmla="*/ 128 h 208"/>
                <a:gd name="T12" fmla="*/ 32 w 125"/>
                <a:gd name="T13" fmla="*/ 208 h 208"/>
                <a:gd name="T14" fmla="*/ 0 w 125"/>
                <a:gd name="T15" fmla="*/ 208 h 208"/>
                <a:gd name="T16" fmla="*/ 0 w 125"/>
                <a:gd name="T17" fmla="*/ 0 h 208"/>
                <a:gd name="T18" fmla="*/ 32 w 125"/>
                <a:gd name="T19" fmla="*/ 0 h 208"/>
                <a:gd name="T20" fmla="*/ 32 w 125"/>
                <a:gd name="T21" fmla="*/ 90 h 208"/>
                <a:gd name="T22" fmla="*/ 33 w 125"/>
                <a:gd name="T23" fmla="*/ 90 h 208"/>
                <a:gd name="T24" fmla="*/ 77 w 125"/>
                <a:gd name="T25" fmla="*/ 64 h 208"/>
                <a:gd name="T26" fmla="*/ 113 w 125"/>
                <a:gd name="T27" fmla="*/ 79 h 208"/>
                <a:gd name="T28" fmla="*/ 125 w 125"/>
                <a:gd name="T29" fmla="*/ 122 h 208"/>
                <a:gd name="T30" fmla="*/ 125 w 125"/>
                <a:gd name="T31" fmla="*/ 208 h 208"/>
                <a:gd name="T32" fmla="*/ 93 w 125"/>
                <a:gd name="T3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208">
                  <a:moveTo>
                    <a:pt x="93" y="208"/>
                  </a:moveTo>
                  <a:cubicBezTo>
                    <a:pt x="93" y="129"/>
                    <a:pt x="93" y="129"/>
                    <a:pt x="93" y="129"/>
                  </a:cubicBezTo>
                  <a:cubicBezTo>
                    <a:pt x="93" y="116"/>
                    <a:pt x="91" y="107"/>
                    <a:pt x="86" y="100"/>
                  </a:cubicBezTo>
                  <a:cubicBezTo>
                    <a:pt x="82" y="94"/>
                    <a:pt x="75" y="90"/>
                    <a:pt x="65" y="90"/>
                  </a:cubicBezTo>
                  <a:cubicBezTo>
                    <a:pt x="56" y="90"/>
                    <a:pt x="48" y="94"/>
                    <a:pt x="41" y="101"/>
                  </a:cubicBezTo>
                  <a:cubicBezTo>
                    <a:pt x="35" y="108"/>
                    <a:pt x="32" y="117"/>
                    <a:pt x="32" y="12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43" y="73"/>
                    <a:pt x="58" y="64"/>
                    <a:pt x="77" y="64"/>
                  </a:cubicBezTo>
                  <a:cubicBezTo>
                    <a:pt x="93" y="64"/>
                    <a:pt x="105" y="69"/>
                    <a:pt x="113" y="79"/>
                  </a:cubicBezTo>
                  <a:cubicBezTo>
                    <a:pt x="121" y="89"/>
                    <a:pt x="125" y="103"/>
                    <a:pt x="125" y="122"/>
                  </a:cubicBezTo>
                  <a:cubicBezTo>
                    <a:pt x="125" y="208"/>
                    <a:pt x="125" y="208"/>
                    <a:pt x="125" y="208"/>
                  </a:cubicBezTo>
                  <a:lnTo>
                    <a:pt x="93" y="20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auto">
            <a:xfrm>
              <a:off x="3854450" y="2611438"/>
              <a:ext cx="234950" cy="239713"/>
            </a:xfrm>
            <a:custGeom>
              <a:avLst/>
              <a:gdLst>
                <a:gd name="T0" fmla="*/ 145 w 145"/>
                <a:gd name="T1" fmla="*/ 73 h 148"/>
                <a:gd name="T2" fmla="*/ 125 w 145"/>
                <a:gd name="T3" fmla="*/ 127 h 148"/>
                <a:gd name="T4" fmla="*/ 71 w 145"/>
                <a:gd name="T5" fmla="*/ 148 h 148"/>
                <a:gd name="T6" fmla="*/ 19 w 145"/>
                <a:gd name="T7" fmla="*/ 128 h 148"/>
                <a:gd name="T8" fmla="*/ 0 w 145"/>
                <a:gd name="T9" fmla="*/ 76 h 148"/>
                <a:gd name="T10" fmla="*/ 20 w 145"/>
                <a:gd name="T11" fmla="*/ 21 h 148"/>
                <a:gd name="T12" fmla="*/ 75 w 145"/>
                <a:gd name="T13" fmla="*/ 0 h 148"/>
                <a:gd name="T14" fmla="*/ 126 w 145"/>
                <a:gd name="T15" fmla="*/ 20 h 148"/>
                <a:gd name="T16" fmla="*/ 145 w 145"/>
                <a:gd name="T17" fmla="*/ 73 h 148"/>
                <a:gd name="T18" fmla="*/ 112 w 145"/>
                <a:gd name="T19" fmla="*/ 74 h 148"/>
                <a:gd name="T20" fmla="*/ 101 w 145"/>
                <a:gd name="T21" fmla="*/ 38 h 148"/>
                <a:gd name="T22" fmla="*/ 73 w 145"/>
                <a:gd name="T23" fmla="*/ 26 h 148"/>
                <a:gd name="T24" fmla="*/ 44 w 145"/>
                <a:gd name="T25" fmla="*/ 39 h 148"/>
                <a:gd name="T26" fmla="*/ 33 w 145"/>
                <a:gd name="T27" fmla="*/ 75 h 148"/>
                <a:gd name="T28" fmla="*/ 44 w 145"/>
                <a:gd name="T29" fmla="*/ 110 h 148"/>
                <a:gd name="T30" fmla="*/ 73 w 145"/>
                <a:gd name="T31" fmla="*/ 122 h 148"/>
                <a:gd name="T32" fmla="*/ 102 w 145"/>
                <a:gd name="T33" fmla="*/ 110 h 148"/>
                <a:gd name="T34" fmla="*/ 112 w 145"/>
                <a:gd name="T35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8">
                  <a:moveTo>
                    <a:pt x="145" y="73"/>
                  </a:moveTo>
                  <a:cubicBezTo>
                    <a:pt x="145" y="96"/>
                    <a:pt x="138" y="114"/>
                    <a:pt x="125" y="127"/>
                  </a:cubicBezTo>
                  <a:cubicBezTo>
                    <a:pt x="112" y="141"/>
                    <a:pt x="94" y="148"/>
                    <a:pt x="71" y="148"/>
                  </a:cubicBezTo>
                  <a:cubicBezTo>
                    <a:pt x="50" y="148"/>
                    <a:pt x="32" y="141"/>
                    <a:pt x="19" y="128"/>
                  </a:cubicBezTo>
                  <a:cubicBezTo>
                    <a:pt x="7" y="116"/>
                    <a:pt x="0" y="98"/>
                    <a:pt x="0" y="76"/>
                  </a:cubicBezTo>
                  <a:cubicBezTo>
                    <a:pt x="0" y="52"/>
                    <a:pt x="7" y="34"/>
                    <a:pt x="20" y="21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7"/>
                    <a:pt x="126" y="20"/>
                  </a:cubicBezTo>
                  <a:cubicBezTo>
                    <a:pt x="139" y="33"/>
                    <a:pt x="145" y="50"/>
                    <a:pt x="145" y="73"/>
                  </a:cubicBezTo>
                  <a:close/>
                  <a:moveTo>
                    <a:pt x="112" y="74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1"/>
                    <a:pt x="44" y="39"/>
                  </a:cubicBezTo>
                  <a:cubicBezTo>
                    <a:pt x="37" y="47"/>
                    <a:pt x="33" y="59"/>
                    <a:pt x="33" y="75"/>
                  </a:cubicBezTo>
                  <a:cubicBezTo>
                    <a:pt x="33" y="90"/>
                    <a:pt x="37" y="101"/>
                    <a:pt x="44" y="110"/>
                  </a:cubicBezTo>
                  <a:cubicBezTo>
                    <a:pt x="51" y="118"/>
                    <a:pt x="61" y="122"/>
                    <a:pt x="73" y="122"/>
                  </a:cubicBezTo>
                  <a:cubicBezTo>
                    <a:pt x="86" y="122"/>
                    <a:pt x="95" y="118"/>
                    <a:pt x="102" y="110"/>
                  </a:cubicBezTo>
                  <a:cubicBezTo>
                    <a:pt x="108" y="102"/>
                    <a:pt x="112" y="90"/>
                    <a:pt x="112" y="7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auto">
            <a:xfrm>
              <a:off x="4135438" y="2617788"/>
              <a:ext cx="203200" cy="233363"/>
            </a:xfrm>
            <a:custGeom>
              <a:avLst/>
              <a:gdLst>
                <a:gd name="T0" fmla="*/ 93 w 125"/>
                <a:gd name="T1" fmla="*/ 140 h 144"/>
                <a:gd name="T2" fmla="*/ 93 w 125"/>
                <a:gd name="T3" fmla="*/ 119 h 144"/>
                <a:gd name="T4" fmla="*/ 93 w 125"/>
                <a:gd name="T5" fmla="*/ 119 h 144"/>
                <a:gd name="T6" fmla="*/ 75 w 125"/>
                <a:gd name="T7" fmla="*/ 137 h 144"/>
                <a:gd name="T8" fmla="*/ 50 w 125"/>
                <a:gd name="T9" fmla="*/ 144 h 144"/>
                <a:gd name="T10" fmla="*/ 13 w 125"/>
                <a:gd name="T11" fmla="*/ 129 h 144"/>
                <a:gd name="T12" fmla="*/ 0 w 125"/>
                <a:gd name="T13" fmla="*/ 85 h 144"/>
                <a:gd name="T14" fmla="*/ 0 w 125"/>
                <a:gd name="T15" fmla="*/ 0 h 144"/>
                <a:gd name="T16" fmla="*/ 32 w 125"/>
                <a:gd name="T17" fmla="*/ 0 h 144"/>
                <a:gd name="T18" fmla="*/ 32 w 125"/>
                <a:gd name="T19" fmla="*/ 81 h 144"/>
                <a:gd name="T20" fmla="*/ 61 w 125"/>
                <a:gd name="T21" fmla="*/ 118 h 144"/>
                <a:gd name="T22" fmla="*/ 85 w 125"/>
                <a:gd name="T23" fmla="*/ 108 h 144"/>
                <a:gd name="T24" fmla="*/ 93 w 125"/>
                <a:gd name="T25" fmla="*/ 81 h 144"/>
                <a:gd name="T26" fmla="*/ 93 w 125"/>
                <a:gd name="T27" fmla="*/ 0 h 144"/>
                <a:gd name="T28" fmla="*/ 125 w 125"/>
                <a:gd name="T29" fmla="*/ 0 h 144"/>
                <a:gd name="T30" fmla="*/ 125 w 125"/>
                <a:gd name="T31" fmla="*/ 140 h 144"/>
                <a:gd name="T32" fmla="*/ 93 w 125"/>
                <a:gd name="T33" fmla="*/ 14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0"/>
                  </a:move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88" y="127"/>
                    <a:pt x="83" y="133"/>
                    <a:pt x="75" y="137"/>
                  </a:cubicBezTo>
                  <a:cubicBezTo>
                    <a:pt x="68" y="142"/>
                    <a:pt x="60" y="144"/>
                    <a:pt x="50" y="144"/>
                  </a:cubicBezTo>
                  <a:cubicBezTo>
                    <a:pt x="34" y="144"/>
                    <a:pt x="21" y="139"/>
                    <a:pt x="13" y="129"/>
                  </a:cubicBezTo>
                  <a:cubicBezTo>
                    <a:pt x="4" y="119"/>
                    <a:pt x="0" y="105"/>
                    <a:pt x="0" y="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106"/>
                    <a:pt x="42" y="118"/>
                    <a:pt x="61" y="118"/>
                  </a:cubicBezTo>
                  <a:cubicBezTo>
                    <a:pt x="71" y="118"/>
                    <a:pt x="79" y="115"/>
                    <a:pt x="85" y="108"/>
                  </a:cubicBezTo>
                  <a:cubicBezTo>
                    <a:pt x="90" y="101"/>
                    <a:pt x="93" y="92"/>
                    <a:pt x="93" y="8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0"/>
                    <a:pt x="125" y="140"/>
                    <a:pt x="125" y="140"/>
                  </a:cubicBezTo>
                  <a:lnTo>
                    <a:pt x="93" y="14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59"/>
            <p:cNvSpPr>
              <a:spLocks/>
            </p:cNvSpPr>
            <p:nvPr userDrawn="1"/>
          </p:nvSpPr>
          <p:spPr bwMode="auto">
            <a:xfrm>
              <a:off x="4392613" y="2611438"/>
              <a:ext cx="150813" cy="239713"/>
            </a:xfrm>
            <a:custGeom>
              <a:avLst/>
              <a:gdLst>
                <a:gd name="T0" fmla="*/ 93 w 93"/>
                <a:gd name="T1" fmla="*/ 104 h 148"/>
                <a:gd name="T2" fmla="*/ 78 w 93"/>
                <a:gd name="T3" fmla="*/ 136 h 148"/>
                <a:gd name="T4" fmla="*/ 37 w 93"/>
                <a:gd name="T5" fmla="*/ 148 h 148"/>
                <a:gd name="T6" fmla="*/ 18 w 93"/>
                <a:gd name="T7" fmla="*/ 146 h 148"/>
                <a:gd name="T8" fmla="*/ 0 w 93"/>
                <a:gd name="T9" fmla="*/ 140 h 148"/>
                <a:gd name="T10" fmla="*/ 0 w 93"/>
                <a:gd name="T11" fmla="*/ 110 h 148"/>
                <a:gd name="T12" fmla="*/ 19 w 93"/>
                <a:gd name="T13" fmla="*/ 120 h 148"/>
                <a:gd name="T14" fmla="*/ 38 w 93"/>
                <a:gd name="T15" fmla="*/ 123 h 148"/>
                <a:gd name="T16" fmla="*/ 61 w 93"/>
                <a:gd name="T17" fmla="*/ 108 h 148"/>
                <a:gd name="T18" fmla="*/ 59 w 93"/>
                <a:gd name="T19" fmla="*/ 99 h 148"/>
                <a:gd name="T20" fmla="*/ 51 w 93"/>
                <a:gd name="T21" fmla="*/ 93 h 148"/>
                <a:gd name="T22" fmla="*/ 34 w 93"/>
                <a:gd name="T23" fmla="*/ 85 h 148"/>
                <a:gd name="T24" fmla="*/ 13 w 93"/>
                <a:gd name="T25" fmla="*/ 73 h 148"/>
                <a:gd name="T26" fmla="*/ 3 w 93"/>
                <a:gd name="T27" fmla="*/ 61 h 148"/>
                <a:gd name="T28" fmla="*/ 0 w 93"/>
                <a:gd name="T29" fmla="*/ 43 h 148"/>
                <a:gd name="T30" fmla="*/ 15 w 93"/>
                <a:gd name="T31" fmla="*/ 12 h 148"/>
                <a:gd name="T32" fmla="*/ 54 w 93"/>
                <a:gd name="T33" fmla="*/ 0 h 148"/>
                <a:gd name="T34" fmla="*/ 70 w 93"/>
                <a:gd name="T35" fmla="*/ 2 h 148"/>
                <a:gd name="T36" fmla="*/ 85 w 93"/>
                <a:gd name="T37" fmla="*/ 6 h 148"/>
                <a:gd name="T38" fmla="*/ 85 w 93"/>
                <a:gd name="T39" fmla="*/ 35 h 148"/>
                <a:gd name="T40" fmla="*/ 70 w 93"/>
                <a:gd name="T41" fmla="*/ 28 h 148"/>
                <a:gd name="T42" fmla="*/ 53 w 93"/>
                <a:gd name="T43" fmla="*/ 25 h 148"/>
                <a:gd name="T44" fmla="*/ 38 w 93"/>
                <a:gd name="T45" fmla="*/ 30 h 148"/>
                <a:gd name="T46" fmla="*/ 32 w 93"/>
                <a:gd name="T47" fmla="*/ 40 h 148"/>
                <a:gd name="T48" fmla="*/ 37 w 93"/>
                <a:gd name="T49" fmla="*/ 52 h 148"/>
                <a:gd name="T50" fmla="*/ 57 w 93"/>
                <a:gd name="T51" fmla="*/ 63 h 148"/>
                <a:gd name="T52" fmla="*/ 85 w 93"/>
                <a:gd name="T53" fmla="*/ 80 h 148"/>
                <a:gd name="T54" fmla="*/ 93 w 93"/>
                <a:gd name="T55" fmla="*/ 10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48">
                  <a:moveTo>
                    <a:pt x="93" y="104"/>
                  </a:moveTo>
                  <a:cubicBezTo>
                    <a:pt x="93" y="117"/>
                    <a:pt x="88" y="128"/>
                    <a:pt x="78" y="136"/>
                  </a:cubicBezTo>
                  <a:cubicBezTo>
                    <a:pt x="68" y="144"/>
                    <a:pt x="54" y="148"/>
                    <a:pt x="37" y="148"/>
                  </a:cubicBezTo>
                  <a:cubicBezTo>
                    <a:pt x="31" y="148"/>
                    <a:pt x="25" y="147"/>
                    <a:pt x="18" y="146"/>
                  </a:cubicBezTo>
                  <a:cubicBezTo>
                    <a:pt x="11" y="144"/>
                    <a:pt x="5" y="142"/>
                    <a:pt x="0" y="14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6" y="114"/>
                    <a:pt x="12" y="117"/>
                    <a:pt x="19" y="120"/>
                  </a:cubicBezTo>
                  <a:cubicBezTo>
                    <a:pt x="26" y="122"/>
                    <a:pt x="33" y="123"/>
                    <a:pt x="38" y="123"/>
                  </a:cubicBezTo>
                  <a:cubicBezTo>
                    <a:pt x="53" y="123"/>
                    <a:pt x="61" y="118"/>
                    <a:pt x="61" y="108"/>
                  </a:cubicBezTo>
                  <a:cubicBezTo>
                    <a:pt x="61" y="104"/>
                    <a:pt x="60" y="102"/>
                    <a:pt x="59" y="99"/>
                  </a:cubicBezTo>
                  <a:cubicBezTo>
                    <a:pt x="57" y="97"/>
                    <a:pt x="55" y="95"/>
                    <a:pt x="51" y="93"/>
                  </a:cubicBezTo>
                  <a:cubicBezTo>
                    <a:pt x="47" y="91"/>
                    <a:pt x="41" y="88"/>
                    <a:pt x="34" y="85"/>
                  </a:cubicBezTo>
                  <a:cubicBezTo>
                    <a:pt x="24" y="81"/>
                    <a:pt x="18" y="77"/>
                    <a:pt x="13" y="73"/>
                  </a:cubicBezTo>
                  <a:cubicBezTo>
                    <a:pt x="9" y="70"/>
                    <a:pt x="5" y="65"/>
                    <a:pt x="3" y="61"/>
                  </a:cubicBezTo>
                  <a:cubicBezTo>
                    <a:pt x="1" y="56"/>
                    <a:pt x="0" y="50"/>
                    <a:pt x="0" y="43"/>
                  </a:cubicBezTo>
                  <a:cubicBezTo>
                    <a:pt x="0" y="31"/>
                    <a:pt x="5" y="20"/>
                    <a:pt x="15" y="12"/>
                  </a:cubicBezTo>
                  <a:cubicBezTo>
                    <a:pt x="25" y="4"/>
                    <a:pt x="38" y="0"/>
                    <a:pt x="54" y="0"/>
                  </a:cubicBezTo>
                  <a:cubicBezTo>
                    <a:pt x="59" y="0"/>
                    <a:pt x="64" y="1"/>
                    <a:pt x="70" y="2"/>
                  </a:cubicBezTo>
                  <a:cubicBezTo>
                    <a:pt x="77" y="3"/>
                    <a:pt x="82" y="5"/>
                    <a:pt x="85" y="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1" y="32"/>
                    <a:pt x="76" y="30"/>
                    <a:pt x="70" y="28"/>
                  </a:cubicBezTo>
                  <a:cubicBezTo>
                    <a:pt x="64" y="26"/>
                    <a:pt x="58" y="25"/>
                    <a:pt x="53" y="25"/>
                  </a:cubicBezTo>
                  <a:cubicBezTo>
                    <a:pt x="46" y="25"/>
                    <a:pt x="41" y="27"/>
                    <a:pt x="38" y="30"/>
                  </a:cubicBezTo>
                  <a:cubicBezTo>
                    <a:pt x="34" y="32"/>
                    <a:pt x="32" y="36"/>
                    <a:pt x="32" y="40"/>
                  </a:cubicBezTo>
                  <a:cubicBezTo>
                    <a:pt x="32" y="45"/>
                    <a:pt x="34" y="49"/>
                    <a:pt x="37" y="52"/>
                  </a:cubicBezTo>
                  <a:cubicBezTo>
                    <a:pt x="39" y="55"/>
                    <a:pt x="46" y="58"/>
                    <a:pt x="57" y="63"/>
                  </a:cubicBezTo>
                  <a:cubicBezTo>
                    <a:pt x="70" y="68"/>
                    <a:pt x="79" y="74"/>
                    <a:pt x="85" y="80"/>
                  </a:cubicBezTo>
                  <a:cubicBezTo>
                    <a:pt x="90" y="87"/>
                    <a:pt x="93" y="95"/>
                    <a:pt x="93" y="10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Freeform 60"/>
            <p:cNvSpPr>
              <a:spLocks noEditPoints="1"/>
            </p:cNvSpPr>
            <p:nvPr userDrawn="1"/>
          </p:nvSpPr>
          <p:spPr bwMode="auto">
            <a:xfrm>
              <a:off x="4576763" y="2611438"/>
              <a:ext cx="207963" cy="239713"/>
            </a:xfrm>
            <a:custGeom>
              <a:avLst/>
              <a:gdLst>
                <a:gd name="T0" fmla="*/ 33 w 129"/>
                <a:gd name="T1" fmla="*/ 83 h 148"/>
                <a:gd name="T2" fmla="*/ 44 w 129"/>
                <a:gd name="T3" fmla="*/ 113 h 148"/>
                <a:gd name="T4" fmla="*/ 75 w 129"/>
                <a:gd name="T5" fmla="*/ 123 h 148"/>
                <a:gd name="T6" fmla="*/ 98 w 129"/>
                <a:gd name="T7" fmla="*/ 119 h 148"/>
                <a:gd name="T8" fmla="*/ 117 w 129"/>
                <a:gd name="T9" fmla="*/ 109 h 148"/>
                <a:gd name="T10" fmla="*/ 117 w 129"/>
                <a:gd name="T11" fmla="*/ 136 h 148"/>
                <a:gd name="T12" fmla="*/ 96 w 129"/>
                <a:gd name="T13" fmla="*/ 145 h 148"/>
                <a:gd name="T14" fmla="*/ 67 w 129"/>
                <a:gd name="T15" fmla="*/ 148 h 148"/>
                <a:gd name="T16" fmla="*/ 18 w 129"/>
                <a:gd name="T17" fmla="*/ 129 h 148"/>
                <a:gd name="T18" fmla="*/ 0 w 129"/>
                <a:gd name="T19" fmla="*/ 76 h 148"/>
                <a:gd name="T20" fmla="*/ 9 w 129"/>
                <a:gd name="T21" fmla="*/ 36 h 148"/>
                <a:gd name="T22" fmla="*/ 33 w 129"/>
                <a:gd name="T23" fmla="*/ 10 h 148"/>
                <a:gd name="T24" fmla="*/ 67 w 129"/>
                <a:gd name="T25" fmla="*/ 0 h 148"/>
                <a:gd name="T26" fmla="*/ 112 w 129"/>
                <a:gd name="T27" fmla="*/ 18 h 148"/>
                <a:gd name="T28" fmla="*/ 129 w 129"/>
                <a:gd name="T29" fmla="*/ 68 h 148"/>
                <a:gd name="T30" fmla="*/ 129 w 129"/>
                <a:gd name="T31" fmla="*/ 83 h 148"/>
                <a:gd name="T32" fmla="*/ 33 w 129"/>
                <a:gd name="T33" fmla="*/ 83 h 148"/>
                <a:gd name="T34" fmla="*/ 97 w 129"/>
                <a:gd name="T35" fmla="*/ 60 h 148"/>
                <a:gd name="T36" fmla="*/ 89 w 129"/>
                <a:gd name="T37" fmla="*/ 34 h 148"/>
                <a:gd name="T38" fmla="*/ 67 w 129"/>
                <a:gd name="T39" fmla="*/ 25 h 148"/>
                <a:gd name="T40" fmla="*/ 45 w 129"/>
                <a:gd name="T41" fmla="*/ 35 h 148"/>
                <a:gd name="T42" fmla="*/ 33 w 129"/>
                <a:gd name="T43" fmla="*/ 60 h 148"/>
                <a:gd name="T44" fmla="*/ 97 w 129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148">
                  <a:moveTo>
                    <a:pt x="33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2" y="119"/>
                    <a:pt x="62" y="123"/>
                    <a:pt x="75" y="123"/>
                  </a:cubicBezTo>
                  <a:cubicBezTo>
                    <a:pt x="83" y="123"/>
                    <a:pt x="91" y="122"/>
                    <a:pt x="98" y="119"/>
                  </a:cubicBezTo>
                  <a:cubicBezTo>
                    <a:pt x="105" y="116"/>
                    <a:pt x="112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40"/>
                    <a:pt x="105" y="142"/>
                    <a:pt x="96" y="145"/>
                  </a:cubicBezTo>
                  <a:cubicBezTo>
                    <a:pt x="87" y="147"/>
                    <a:pt x="77" y="148"/>
                    <a:pt x="67" y="148"/>
                  </a:cubicBezTo>
                  <a:cubicBezTo>
                    <a:pt x="46" y="148"/>
                    <a:pt x="30" y="142"/>
                    <a:pt x="18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9" y="36"/>
                  </a:cubicBezTo>
                  <a:cubicBezTo>
                    <a:pt x="15" y="25"/>
                    <a:pt x="23" y="16"/>
                    <a:pt x="33" y="10"/>
                  </a:cubicBezTo>
                  <a:cubicBezTo>
                    <a:pt x="43" y="4"/>
                    <a:pt x="55" y="0"/>
                    <a:pt x="67" y="0"/>
                  </a:cubicBezTo>
                  <a:cubicBezTo>
                    <a:pt x="87" y="0"/>
                    <a:pt x="102" y="6"/>
                    <a:pt x="112" y="18"/>
                  </a:cubicBezTo>
                  <a:cubicBezTo>
                    <a:pt x="123" y="30"/>
                    <a:pt x="129" y="47"/>
                    <a:pt x="129" y="68"/>
                  </a:cubicBezTo>
                  <a:cubicBezTo>
                    <a:pt x="129" y="83"/>
                    <a:pt x="129" y="83"/>
                    <a:pt x="129" y="83"/>
                  </a:cubicBezTo>
                  <a:lnTo>
                    <a:pt x="33" y="83"/>
                  </a:lnTo>
                  <a:close/>
                  <a:moveTo>
                    <a:pt x="97" y="60"/>
                  </a:moveTo>
                  <a:cubicBezTo>
                    <a:pt x="97" y="48"/>
                    <a:pt x="94" y="40"/>
                    <a:pt x="89" y="34"/>
                  </a:cubicBezTo>
                  <a:cubicBezTo>
                    <a:pt x="84" y="28"/>
                    <a:pt x="77" y="25"/>
                    <a:pt x="67" y="25"/>
                  </a:cubicBezTo>
                  <a:cubicBezTo>
                    <a:pt x="59" y="25"/>
                    <a:pt x="51" y="28"/>
                    <a:pt x="45" y="35"/>
                  </a:cubicBezTo>
                  <a:cubicBezTo>
                    <a:pt x="38" y="41"/>
                    <a:pt x="34" y="49"/>
                    <a:pt x="33" y="60"/>
                  </a:cubicBezTo>
                  <a:lnTo>
                    <a:pt x="97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59" name="Group 158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90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1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4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5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6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7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9525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6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7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8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</p:grpSp>
      <p:grpSp>
        <p:nvGrpSpPr>
          <p:cNvPr id="81" name="Group 80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63968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5928E-6 -1.32547E-6 L 0.06932 0.00023 " pathEditMode="relative" rAng="0" ptsTypes="AA">
                                      <p:cBhvr>
                                        <p:cTn id="17" dur="1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9599E-6 -8.17068E-7 L 0.06931 0.00023 " pathEditMode="relative" rAng="0" ptsTypes="AA">
                                      <p:cBhvr>
                                        <p:cTn id="19" dur="12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2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</p:bldLst>
  </p:timing>
  <p:extLst mod="1"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  <p15:guide id="5" orient="horz" pos="57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5826698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5826699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Yammer hashtag</a:t>
            </a:r>
          </a:p>
        </p:txBody>
      </p:sp>
      <p:grpSp>
        <p:nvGrpSpPr>
          <p:cNvPr id="58" name="Group 57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59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0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2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3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5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6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67" name="Group 66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9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76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77" name="Group 76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78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9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0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1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2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3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4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5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6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7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8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9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19050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0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1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2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</p:grpSp>
      <p:grpSp>
        <p:nvGrpSpPr>
          <p:cNvPr id="93" name="Group 92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94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5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6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7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8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1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219802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14" dur="12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24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animBg="1"/>
      <p:bldP spid="76" grpId="1" animBg="1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ANIMATED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1" name="TextBox 7"/>
          <p:cNvSpPr txBox="1"/>
          <p:nvPr userDrawn="1"/>
        </p:nvSpPr>
        <p:spPr bwMode="white">
          <a:xfrm>
            <a:off x="4392104" y="6566924"/>
            <a:ext cx="3407792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+mn-lt"/>
              </a:rPr>
              <a:t>MICROSOFT CONFIDENTIAL – INTERNAL ONLY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Yammer hashtag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5724454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5733410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699116" y="122012"/>
            <a:ext cx="6122818" cy="7069081"/>
            <a:chOff x="5813395" y="124441"/>
            <a:chExt cx="6245593" cy="7209808"/>
          </a:xfrm>
        </p:grpSpPr>
        <p:pic>
          <p:nvPicPr>
            <p:cNvPr id="889" name="Picture 888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6647005" y="2354262"/>
              <a:ext cx="1489168" cy="693233"/>
            </a:xfrm>
            <a:prstGeom prst="rect">
              <a:avLst/>
            </a:prstGeom>
          </p:spPr>
        </p:pic>
        <p:pic>
          <p:nvPicPr>
            <p:cNvPr id="888" name="Picture 887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9191017" y="2724150"/>
              <a:ext cx="2867971" cy="1335090"/>
            </a:xfrm>
            <a:prstGeom prst="rect">
              <a:avLst/>
            </a:prstGeom>
          </p:spPr>
        </p:pic>
        <p:pic>
          <p:nvPicPr>
            <p:cNvPr id="883" name="Picture 88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33373" y="124441"/>
              <a:ext cx="3035177" cy="4104659"/>
            </a:xfrm>
            <a:prstGeom prst="rect">
              <a:avLst/>
            </a:prstGeom>
          </p:spPr>
        </p:pic>
        <p:pic>
          <p:nvPicPr>
            <p:cNvPr id="884" name="Picture 88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98644" y="1001712"/>
              <a:ext cx="3079149" cy="4083737"/>
            </a:xfrm>
            <a:prstGeom prst="rect">
              <a:avLst/>
            </a:prstGeom>
          </p:spPr>
        </p:pic>
        <p:pic>
          <p:nvPicPr>
            <p:cNvPr id="885" name="Picture 884"/>
            <p:cNvPicPr>
              <a:picLocks noChangeAspect="1"/>
            </p:cNvPicPr>
            <p:nvPr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5813395" y="2831443"/>
              <a:ext cx="3563938" cy="1659075"/>
            </a:xfrm>
            <a:prstGeom prst="rect">
              <a:avLst/>
            </a:prstGeom>
          </p:spPr>
        </p:pic>
        <p:pic>
          <p:nvPicPr>
            <p:cNvPr id="886" name="Picture 88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50974" y="3178032"/>
              <a:ext cx="3266895" cy="4156217"/>
            </a:xfrm>
            <a:prstGeom prst="rect">
              <a:avLst/>
            </a:prstGeom>
          </p:spPr>
        </p:pic>
        <p:pic>
          <p:nvPicPr>
            <p:cNvPr id="887" name="Picture 88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51355" y="4105275"/>
              <a:ext cx="1046428" cy="1449387"/>
            </a:xfrm>
            <a:prstGeom prst="rect">
              <a:avLst/>
            </a:prstGeom>
          </p:spPr>
        </p:pic>
        <p:pic>
          <p:nvPicPr>
            <p:cNvPr id="890" name="Picture 889"/>
            <p:cNvPicPr>
              <a:picLocks noChangeAspect="1"/>
            </p:cNvPicPr>
            <p:nvPr userDrawn="1"/>
          </p:nvPicPr>
          <p:blipFill>
            <a:blip r:embed="rId3">
              <a:lum bright="70000" contrast="-70000"/>
            </a:blip>
            <a:stretch>
              <a:fillRect/>
            </a:stretch>
          </p:blipFill>
          <p:spPr>
            <a:xfrm>
              <a:off x="9424683" y="5810253"/>
              <a:ext cx="906259" cy="4218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796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3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9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0" dur="9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9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37" dur="9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9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44" dur="9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1" grpId="2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  <p:bldP spid="13" grpId="2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2" grpId="2"/>
      <p:bldP spid="9" grpId="0"/>
      <p:bldP spid="9" grpId="1"/>
      <p:bldP spid="9" grpId="2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5" grpId="2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">
    <p:bg>
      <p:bgPr>
        <a:solidFill>
          <a:srgbClr val="0086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83" name="Group 82"/>
          <p:cNvGrpSpPr/>
          <p:nvPr userDrawn="1"/>
        </p:nvGrpSpPr>
        <p:grpSpPr>
          <a:xfrm>
            <a:off x="8982924" y="4569925"/>
            <a:ext cx="501126" cy="772031"/>
            <a:chOff x="8189913" y="3194051"/>
            <a:chExt cx="511175" cy="787400"/>
          </a:xfrm>
        </p:grpSpPr>
        <p:sp>
          <p:nvSpPr>
            <p:cNvPr id="84" name="Freeform 65"/>
            <p:cNvSpPr>
              <a:spLocks/>
            </p:cNvSpPr>
            <p:nvPr userDrawn="1"/>
          </p:nvSpPr>
          <p:spPr bwMode="auto">
            <a:xfrm>
              <a:off x="8361363" y="3390901"/>
              <a:ext cx="169863" cy="96838"/>
            </a:xfrm>
            <a:custGeom>
              <a:avLst/>
              <a:gdLst>
                <a:gd name="T0" fmla="*/ 107 w 107"/>
                <a:gd name="T1" fmla="*/ 30 h 61"/>
                <a:gd name="T2" fmla="*/ 53 w 107"/>
                <a:gd name="T3" fmla="*/ 0 h 61"/>
                <a:gd name="T4" fmla="*/ 0 w 107"/>
                <a:gd name="T5" fmla="*/ 30 h 61"/>
                <a:gd name="T6" fmla="*/ 54 w 107"/>
                <a:gd name="T7" fmla="*/ 61 h 61"/>
                <a:gd name="T8" fmla="*/ 107 w 107"/>
                <a:gd name="T9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61">
                  <a:moveTo>
                    <a:pt x="107" y="30"/>
                  </a:moveTo>
                  <a:lnTo>
                    <a:pt x="53" y="0"/>
                  </a:lnTo>
                  <a:lnTo>
                    <a:pt x="0" y="30"/>
                  </a:lnTo>
                  <a:lnTo>
                    <a:pt x="54" y="61"/>
                  </a:lnTo>
                  <a:lnTo>
                    <a:pt x="107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5" name="Freeform 66"/>
            <p:cNvSpPr>
              <a:spLocks/>
            </p:cNvSpPr>
            <p:nvPr userDrawn="1"/>
          </p:nvSpPr>
          <p:spPr bwMode="auto">
            <a:xfrm>
              <a:off x="8447088" y="3340101"/>
              <a:ext cx="254000" cy="344488"/>
            </a:xfrm>
            <a:custGeom>
              <a:avLst/>
              <a:gdLst>
                <a:gd name="T0" fmla="*/ 0 w 160"/>
                <a:gd name="T1" fmla="*/ 217 h 217"/>
                <a:gd name="T2" fmla="*/ 160 w 160"/>
                <a:gd name="T3" fmla="*/ 124 h 217"/>
                <a:gd name="T4" fmla="*/ 160 w 160"/>
                <a:gd name="T5" fmla="*/ 0 h 217"/>
                <a:gd name="T6" fmla="*/ 0 w 160"/>
                <a:gd name="T7" fmla="*/ 93 h 217"/>
                <a:gd name="T8" fmla="*/ 0 w 160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7">
                  <a:moveTo>
                    <a:pt x="0" y="217"/>
                  </a:moveTo>
                  <a:lnTo>
                    <a:pt x="160" y="124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6" name="Freeform 67"/>
            <p:cNvSpPr>
              <a:spLocks/>
            </p:cNvSpPr>
            <p:nvPr userDrawn="1"/>
          </p:nvSpPr>
          <p:spPr bwMode="auto">
            <a:xfrm>
              <a:off x="8274050" y="3389313"/>
              <a:ext cx="173038" cy="296863"/>
            </a:xfrm>
            <a:custGeom>
              <a:avLst/>
              <a:gdLst>
                <a:gd name="T0" fmla="*/ 109 w 109"/>
                <a:gd name="T1" fmla="*/ 187 h 187"/>
                <a:gd name="T2" fmla="*/ 0 w 109"/>
                <a:gd name="T3" fmla="*/ 124 h 187"/>
                <a:gd name="T4" fmla="*/ 0 w 109"/>
                <a:gd name="T5" fmla="*/ 0 h 187"/>
                <a:gd name="T6" fmla="*/ 109 w 109"/>
                <a:gd name="T7" fmla="*/ 62 h 187"/>
                <a:gd name="T8" fmla="*/ 109 w 109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7">
                  <a:moveTo>
                    <a:pt x="109" y="187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09" y="62"/>
                  </a:lnTo>
                  <a:lnTo>
                    <a:pt x="109" y="187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7" name="Freeform 68"/>
            <p:cNvSpPr>
              <a:spLocks/>
            </p:cNvSpPr>
            <p:nvPr userDrawn="1"/>
          </p:nvSpPr>
          <p:spPr bwMode="auto">
            <a:xfrm>
              <a:off x="8189913" y="3635376"/>
              <a:ext cx="150813" cy="233363"/>
            </a:xfrm>
            <a:custGeom>
              <a:avLst/>
              <a:gdLst>
                <a:gd name="T0" fmla="*/ 52 w 93"/>
                <a:gd name="T1" fmla="*/ 30 h 145"/>
                <a:gd name="T2" fmla="*/ 0 w 93"/>
                <a:gd name="T3" fmla="*/ 0 h 145"/>
                <a:gd name="T4" fmla="*/ 0 w 93"/>
                <a:gd name="T5" fmla="*/ 122 h 145"/>
                <a:gd name="T6" fmla="*/ 20 w 93"/>
                <a:gd name="T7" fmla="*/ 119 h 145"/>
                <a:gd name="T8" fmla="*/ 81 w 93"/>
                <a:gd name="T9" fmla="*/ 145 h 145"/>
                <a:gd name="T10" fmla="*/ 93 w 93"/>
                <a:gd name="T11" fmla="*/ 117 h 145"/>
                <a:gd name="T12" fmla="*/ 52 w 93"/>
                <a:gd name="T13" fmla="*/ 93 h 145"/>
                <a:gd name="T14" fmla="*/ 52 w 93"/>
                <a:gd name="T15" fmla="*/ 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145">
                  <a:moveTo>
                    <a:pt x="52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7" y="120"/>
                    <a:pt x="13" y="119"/>
                    <a:pt x="20" y="119"/>
                  </a:cubicBezTo>
                  <a:cubicBezTo>
                    <a:pt x="44" y="119"/>
                    <a:pt x="65" y="129"/>
                    <a:pt x="81" y="145"/>
                  </a:cubicBezTo>
                  <a:cubicBezTo>
                    <a:pt x="84" y="135"/>
                    <a:pt x="88" y="125"/>
                    <a:pt x="93" y="117"/>
                  </a:cubicBezTo>
                  <a:cubicBezTo>
                    <a:pt x="52" y="93"/>
                    <a:pt x="52" y="93"/>
                    <a:pt x="52" y="93"/>
                  </a:cubicBezTo>
                  <a:lnTo>
                    <a:pt x="52" y="3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8" name="Freeform 69"/>
            <p:cNvSpPr>
              <a:spLocks/>
            </p:cNvSpPr>
            <p:nvPr userDrawn="1"/>
          </p:nvSpPr>
          <p:spPr bwMode="auto">
            <a:xfrm>
              <a:off x="8447088" y="3536951"/>
              <a:ext cx="254000" cy="244475"/>
            </a:xfrm>
            <a:custGeom>
              <a:avLst/>
              <a:gdLst>
                <a:gd name="T0" fmla="*/ 0 w 160"/>
                <a:gd name="T1" fmla="*/ 154 h 154"/>
                <a:gd name="T2" fmla="*/ 160 w 160"/>
                <a:gd name="T3" fmla="*/ 62 h 154"/>
                <a:gd name="T4" fmla="*/ 160 w 160"/>
                <a:gd name="T5" fmla="*/ 0 h 154"/>
                <a:gd name="T6" fmla="*/ 0 w 160"/>
                <a:gd name="T7" fmla="*/ 94 h 154"/>
                <a:gd name="T8" fmla="*/ 0 w 16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0" y="154"/>
                  </a:moveTo>
                  <a:lnTo>
                    <a:pt x="160" y="62"/>
                  </a:lnTo>
                  <a:lnTo>
                    <a:pt x="160" y="0"/>
                  </a:lnTo>
                  <a:lnTo>
                    <a:pt x="0" y="9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9" name="Freeform 70"/>
            <p:cNvSpPr>
              <a:spLocks/>
            </p:cNvSpPr>
            <p:nvPr userDrawn="1"/>
          </p:nvSpPr>
          <p:spPr bwMode="auto">
            <a:xfrm>
              <a:off x="8447088" y="3633788"/>
              <a:ext cx="254000" cy="347663"/>
            </a:xfrm>
            <a:custGeom>
              <a:avLst/>
              <a:gdLst>
                <a:gd name="T0" fmla="*/ 0 w 160"/>
                <a:gd name="T1" fmla="*/ 219 h 219"/>
                <a:gd name="T2" fmla="*/ 160 w 160"/>
                <a:gd name="T3" fmla="*/ 125 h 219"/>
                <a:gd name="T4" fmla="*/ 160 w 160"/>
                <a:gd name="T5" fmla="*/ 0 h 219"/>
                <a:gd name="T6" fmla="*/ 0 w 160"/>
                <a:gd name="T7" fmla="*/ 93 h 219"/>
                <a:gd name="T8" fmla="*/ 0 w 160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219">
                  <a:moveTo>
                    <a:pt x="0" y="219"/>
                  </a:moveTo>
                  <a:lnTo>
                    <a:pt x="160" y="125"/>
                  </a:lnTo>
                  <a:lnTo>
                    <a:pt x="160" y="0"/>
                  </a:lnTo>
                  <a:lnTo>
                    <a:pt x="0" y="93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0" name="Freeform 71"/>
            <p:cNvSpPr>
              <a:spLocks/>
            </p:cNvSpPr>
            <p:nvPr userDrawn="1"/>
          </p:nvSpPr>
          <p:spPr bwMode="auto">
            <a:xfrm>
              <a:off x="8189913" y="3824288"/>
              <a:ext cx="257175" cy="155575"/>
            </a:xfrm>
            <a:custGeom>
              <a:avLst/>
              <a:gdLst>
                <a:gd name="T0" fmla="*/ 158 w 158"/>
                <a:gd name="T1" fmla="*/ 37 h 96"/>
                <a:gd name="T2" fmla="*/ 158 w 158"/>
                <a:gd name="T3" fmla="*/ 37 h 96"/>
                <a:gd name="T4" fmla="*/ 93 w 158"/>
                <a:gd name="T5" fmla="*/ 0 h 96"/>
                <a:gd name="T6" fmla="*/ 81 w 158"/>
                <a:gd name="T7" fmla="*/ 28 h 96"/>
                <a:gd name="T8" fmla="*/ 20 w 158"/>
                <a:gd name="T9" fmla="*/ 2 h 96"/>
                <a:gd name="T10" fmla="*/ 0 w 158"/>
                <a:gd name="T11" fmla="*/ 5 h 96"/>
                <a:gd name="T12" fmla="*/ 0 w 158"/>
                <a:gd name="T13" fmla="*/ 5 h 96"/>
                <a:gd name="T14" fmla="*/ 158 w 158"/>
                <a:gd name="T15" fmla="*/ 96 h 96"/>
                <a:gd name="T16" fmla="*/ 158 w 158"/>
                <a:gd name="T17" fmla="*/ 96 h 96"/>
                <a:gd name="T18" fmla="*/ 158 w 158"/>
                <a:gd name="T19" fmla="*/ 3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6">
                  <a:moveTo>
                    <a:pt x="158" y="37"/>
                  </a:moveTo>
                  <a:cubicBezTo>
                    <a:pt x="158" y="37"/>
                    <a:pt x="158" y="37"/>
                    <a:pt x="158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8"/>
                    <a:pt x="84" y="18"/>
                    <a:pt x="81" y="28"/>
                  </a:cubicBezTo>
                  <a:cubicBezTo>
                    <a:pt x="65" y="12"/>
                    <a:pt x="44" y="2"/>
                    <a:pt x="20" y="2"/>
                  </a:cubicBezTo>
                  <a:cubicBezTo>
                    <a:pt x="13" y="2"/>
                    <a:pt x="7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lnTo>
                    <a:pt x="158" y="37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1" name="Freeform 72"/>
            <p:cNvSpPr>
              <a:spLocks/>
            </p:cNvSpPr>
            <p:nvPr userDrawn="1"/>
          </p:nvSpPr>
          <p:spPr bwMode="auto">
            <a:xfrm>
              <a:off x="8189913" y="3194051"/>
              <a:ext cx="511175" cy="587375"/>
            </a:xfrm>
            <a:custGeom>
              <a:avLst/>
              <a:gdLst>
                <a:gd name="T0" fmla="*/ 162 w 322"/>
                <a:gd name="T1" fmla="*/ 309 h 370"/>
                <a:gd name="T2" fmla="*/ 162 w 322"/>
                <a:gd name="T3" fmla="*/ 309 h 370"/>
                <a:gd name="T4" fmla="*/ 53 w 322"/>
                <a:gd name="T5" fmla="*/ 247 h 370"/>
                <a:gd name="T6" fmla="*/ 53 w 322"/>
                <a:gd name="T7" fmla="*/ 123 h 370"/>
                <a:gd name="T8" fmla="*/ 162 w 322"/>
                <a:gd name="T9" fmla="*/ 60 h 370"/>
                <a:gd name="T10" fmla="*/ 270 w 322"/>
                <a:gd name="T11" fmla="*/ 123 h 370"/>
                <a:gd name="T12" fmla="*/ 270 w 322"/>
                <a:gd name="T13" fmla="*/ 123 h 370"/>
                <a:gd name="T14" fmla="*/ 322 w 322"/>
                <a:gd name="T15" fmla="*/ 92 h 370"/>
                <a:gd name="T16" fmla="*/ 162 w 322"/>
                <a:gd name="T17" fmla="*/ 0 h 370"/>
                <a:gd name="T18" fmla="*/ 0 w 322"/>
                <a:gd name="T19" fmla="*/ 92 h 370"/>
                <a:gd name="T20" fmla="*/ 0 w 322"/>
                <a:gd name="T21" fmla="*/ 278 h 370"/>
                <a:gd name="T22" fmla="*/ 162 w 322"/>
                <a:gd name="T23" fmla="*/ 370 h 370"/>
                <a:gd name="T24" fmla="*/ 162 w 322"/>
                <a:gd name="T25" fmla="*/ 370 h 370"/>
                <a:gd name="T26" fmla="*/ 162 w 322"/>
                <a:gd name="T27" fmla="*/ 3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70">
                  <a:moveTo>
                    <a:pt x="162" y="309"/>
                  </a:moveTo>
                  <a:lnTo>
                    <a:pt x="162" y="309"/>
                  </a:lnTo>
                  <a:lnTo>
                    <a:pt x="53" y="247"/>
                  </a:lnTo>
                  <a:lnTo>
                    <a:pt x="53" y="123"/>
                  </a:lnTo>
                  <a:lnTo>
                    <a:pt x="162" y="60"/>
                  </a:lnTo>
                  <a:lnTo>
                    <a:pt x="270" y="123"/>
                  </a:lnTo>
                  <a:lnTo>
                    <a:pt x="270" y="123"/>
                  </a:lnTo>
                  <a:lnTo>
                    <a:pt x="322" y="92"/>
                  </a:lnTo>
                  <a:lnTo>
                    <a:pt x="162" y="0"/>
                  </a:lnTo>
                  <a:lnTo>
                    <a:pt x="0" y="92"/>
                  </a:lnTo>
                  <a:lnTo>
                    <a:pt x="0" y="278"/>
                  </a:lnTo>
                  <a:lnTo>
                    <a:pt x="162" y="370"/>
                  </a:lnTo>
                  <a:lnTo>
                    <a:pt x="162" y="370"/>
                  </a:lnTo>
                  <a:lnTo>
                    <a:pt x="162" y="30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92" name="Group 91"/>
          <p:cNvGrpSpPr/>
          <p:nvPr userDrawn="1"/>
        </p:nvGrpSpPr>
        <p:grpSpPr>
          <a:xfrm>
            <a:off x="5434576" y="4734915"/>
            <a:ext cx="449769" cy="695761"/>
            <a:chOff x="4570413" y="3209926"/>
            <a:chExt cx="458788" cy="709612"/>
          </a:xfrm>
        </p:grpSpPr>
        <p:sp>
          <p:nvSpPr>
            <p:cNvPr id="93" name="Freeform 21"/>
            <p:cNvSpPr>
              <a:spLocks/>
            </p:cNvSpPr>
            <p:nvPr userDrawn="1"/>
          </p:nvSpPr>
          <p:spPr bwMode="auto">
            <a:xfrm>
              <a:off x="4721225" y="3386138"/>
              <a:ext cx="153988" cy="88900"/>
            </a:xfrm>
            <a:custGeom>
              <a:avLst/>
              <a:gdLst>
                <a:gd name="T0" fmla="*/ 97 w 97"/>
                <a:gd name="T1" fmla="*/ 28 h 56"/>
                <a:gd name="T2" fmla="*/ 49 w 97"/>
                <a:gd name="T3" fmla="*/ 0 h 56"/>
                <a:gd name="T4" fmla="*/ 0 w 97"/>
                <a:gd name="T5" fmla="*/ 28 h 56"/>
                <a:gd name="T6" fmla="*/ 49 w 97"/>
                <a:gd name="T7" fmla="*/ 56 h 56"/>
                <a:gd name="T8" fmla="*/ 97 w 97"/>
                <a:gd name="T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">
                  <a:moveTo>
                    <a:pt x="97" y="28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56"/>
                  </a:lnTo>
                  <a:lnTo>
                    <a:pt x="97" y="2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4" name="Freeform 22"/>
            <p:cNvSpPr>
              <a:spLocks/>
            </p:cNvSpPr>
            <p:nvPr userDrawn="1"/>
          </p:nvSpPr>
          <p:spPr bwMode="auto">
            <a:xfrm>
              <a:off x="4799013" y="3341688"/>
              <a:ext cx="230188" cy="311150"/>
            </a:xfrm>
            <a:custGeom>
              <a:avLst/>
              <a:gdLst>
                <a:gd name="T0" fmla="*/ 0 w 145"/>
                <a:gd name="T1" fmla="*/ 196 h 196"/>
                <a:gd name="T2" fmla="*/ 145 w 145"/>
                <a:gd name="T3" fmla="*/ 111 h 196"/>
                <a:gd name="T4" fmla="*/ 145 w 145"/>
                <a:gd name="T5" fmla="*/ 0 h 196"/>
                <a:gd name="T6" fmla="*/ 0 w 145"/>
                <a:gd name="T7" fmla="*/ 84 h 196"/>
                <a:gd name="T8" fmla="*/ 0 w 145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6">
                  <a:moveTo>
                    <a:pt x="0" y="196"/>
                  </a:moveTo>
                  <a:lnTo>
                    <a:pt x="145" y="111"/>
                  </a:lnTo>
                  <a:lnTo>
                    <a:pt x="145" y="0"/>
                  </a:lnTo>
                  <a:lnTo>
                    <a:pt x="0" y="84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5" name="Freeform 23"/>
            <p:cNvSpPr>
              <a:spLocks/>
            </p:cNvSpPr>
            <p:nvPr userDrawn="1"/>
          </p:nvSpPr>
          <p:spPr bwMode="auto">
            <a:xfrm>
              <a:off x="4645025" y="3386138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6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6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6" name="Freeform 24"/>
            <p:cNvSpPr>
              <a:spLocks/>
            </p:cNvSpPr>
            <p:nvPr userDrawn="1"/>
          </p:nvSpPr>
          <p:spPr bwMode="auto">
            <a:xfrm>
              <a:off x="4570413" y="3606801"/>
              <a:ext cx="134938" cy="212725"/>
            </a:xfrm>
            <a:custGeom>
              <a:avLst/>
              <a:gdLst>
                <a:gd name="T0" fmla="*/ 46 w 84"/>
                <a:gd name="T1" fmla="*/ 27 h 131"/>
                <a:gd name="T2" fmla="*/ 0 w 84"/>
                <a:gd name="T3" fmla="*/ 0 h 131"/>
                <a:gd name="T4" fmla="*/ 0 w 84"/>
                <a:gd name="T5" fmla="*/ 110 h 131"/>
                <a:gd name="T6" fmla="*/ 17 w 84"/>
                <a:gd name="T7" fmla="*/ 108 h 131"/>
                <a:gd name="T8" fmla="*/ 72 w 84"/>
                <a:gd name="T9" fmla="*/ 131 h 131"/>
                <a:gd name="T10" fmla="*/ 84 w 84"/>
                <a:gd name="T11" fmla="*/ 105 h 131"/>
                <a:gd name="T12" fmla="*/ 46 w 84"/>
                <a:gd name="T13" fmla="*/ 84 h 131"/>
                <a:gd name="T14" fmla="*/ 46 w 84"/>
                <a:gd name="T15" fmla="*/ 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31">
                  <a:moveTo>
                    <a:pt x="46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5" y="108"/>
                    <a:pt x="11" y="108"/>
                    <a:pt x="17" y="108"/>
                  </a:cubicBezTo>
                  <a:cubicBezTo>
                    <a:pt x="39" y="108"/>
                    <a:pt x="58" y="117"/>
                    <a:pt x="72" y="131"/>
                  </a:cubicBezTo>
                  <a:cubicBezTo>
                    <a:pt x="75" y="122"/>
                    <a:pt x="79" y="113"/>
                    <a:pt x="84" y="105"/>
                  </a:cubicBezTo>
                  <a:cubicBezTo>
                    <a:pt x="46" y="84"/>
                    <a:pt x="46" y="84"/>
                    <a:pt x="46" y="84"/>
                  </a:cubicBezTo>
                  <a:lnTo>
                    <a:pt x="4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7" name="Freeform 25"/>
            <p:cNvSpPr>
              <a:spLocks/>
            </p:cNvSpPr>
            <p:nvPr userDrawn="1"/>
          </p:nvSpPr>
          <p:spPr bwMode="auto">
            <a:xfrm>
              <a:off x="4799013" y="3517901"/>
              <a:ext cx="230188" cy="222250"/>
            </a:xfrm>
            <a:custGeom>
              <a:avLst/>
              <a:gdLst>
                <a:gd name="T0" fmla="*/ 0 w 145"/>
                <a:gd name="T1" fmla="*/ 140 h 140"/>
                <a:gd name="T2" fmla="*/ 145 w 145"/>
                <a:gd name="T3" fmla="*/ 56 h 140"/>
                <a:gd name="T4" fmla="*/ 145 w 145"/>
                <a:gd name="T5" fmla="*/ 0 h 140"/>
                <a:gd name="T6" fmla="*/ 0 w 145"/>
                <a:gd name="T7" fmla="*/ 86 h 140"/>
                <a:gd name="T8" fmla="*/ 0 w 145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40">
                  <a:moveTo>
                    <a:pt x="0" y="140"/>
                  </a:moveTo>
                  <a:lnTo>
                    <a:pt x="145" y="56"/>
                  </a:lnTo>
                  <a:lnTo>
                    <a:pt x="145" y="0"/>
                  </a:lnTo>
                  <a:lnTo>
                    <a:pt x="0" y="86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8" name="Freeform 26"/>
            <p:cNvSpPr>
              <a:spLocks/>
            </p:cNvSpPr>
            <p:nvPr userDrawn="1"/>
          </p:nvSpPr>
          <p:spPr bwMode="auto">
            <a:xfrm>
              <a:off x="4799013" y="3605213"/>
              <a:ext cx="230188" cy="314325"/>
            </a:xfrm>
            <a:custGeom>
              <a:avLst/>
              <a:gdLst>
                <a:gd name="T0" fmla="*/ 0 w 145"/>
                <a:gd name="T1" fmla="*/ 198 h 198"/>
                <a:gd name="T2" fmla="*/ 145 w 145"/>
                <a:gd name="T3" fmla="*/ 113 h 198"/>
                <a:gd name="T4" fmla="*/ 145 w 145"/>
                <a:gd name="T5" fmla="*/ 0 h 198"/>
                <a:gd name="T6" fmla="*/ 0 w 145"/>
                <a:gd name="T7" fmla="*/ 85 h 198"/>
                <a:gd name="T8" fmla="*/ 0 w 145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98">
                  <a:moveTo>
                    <a:pt x="0" y="198"/>
                  </a:moveTo>
                  <a:lnTo>
                    <a:pt x="145" y="113"/>
                  </a:lnTo>
                  <a:lnTo>
                    <a:pt x="145" y="0"/>
                  </a:lnTo>
                  <a:lnTo>
                    <a:pt x="0" y="85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9" name="Freeform 27"/>
            <p:cNvSpPr>
              <a:spLocks/>
            </p:cNvSpPr>
            <p:nvPr userDrawn="1"/>
          </p:nvSpPr>
          <p:spPr bwMode="auto">
            <a:xfrm>
              <a:off x="4570413" y="3776663"/>
              <a:ext cx="228600" cy="142875"/>
            </a:xfrm>
            <a:custGeom>
              <a:avLst/>
              <a:gdLst>
                <a:gd name="T0" fmla="*/ 142 w 142"/>
                <a:gd name="T1" fmla="*/ 34 h 88"/>
                <a:gd name="T2" fmla="*/ 142 w 142"/>
                <a:gd name="T3" fmla="*/ 34 h 88"/>
                <a:gd name="T4" fmla="*/ 84 w 142"/>
                <a:gd name="T5" fmla="*/ 0 h 88"/>
                <a:gd name="T6" fmla="*/ 72 w 142"/>
                <a:gd name="T7" fmla="*/ 26 h 88"/>
                <a:gd name="T8" fmla="*/ 17 w 142"/>
                <a:gd name="T9" fmla="*/ 3 h 88"/>
                <a:gd name="T10" fmla="*/ 0 w 142"/>
                <a:gd name="T11" fmla="*/ 5 h 88"/>
                <a:gd name="T12" fmla="*/ 0 w 142"/>
                <a:gd name="T13" fmla="*/ 5 h 88"/>
                <a:gd name="T14" fmla="*/ 142 w 142"/>
                <a:gd name="T15" fmla="*/ 88 h 88"/>
                <a:gd name="T16" fmla="*/ 142 w 142"/>
                <a:gd name="T17" fmla="*/ 88 h 88"/>
                <a:gd name="T18" fmla="*/ 142 w 142"/>
                <a:gd name="T19" fmla="*/ 3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88">
                  <a:moveTo>
                    <a:pt x="142" y="34"/>
                  </a:moveTo>
                  <a:cubicBezTo>
                    <a:pt x="142" y="34"/>
                    <a:pt x="142" y="34"/>
                    <a:pt x="142" y="3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9" y="8"/>
                    <a:pt x="75" y="17"/>
                    <a:pt x="72" y="26"/>
                  </a:cubicBezTo>
                  <a:cubicBezTo>
                    <a:pt x="58" y="12"/>
                    <a:pt x="39" y="3"/>
                    <a:pt x="17" y="3"/>
                  </a:cubicBezTo>
                  <a:cubicBezTo>
                    <a:pt x="11" y="3"/>
                    <a:pt x="5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2" y="88"/>
                    <a:pt x="142" y="88"/>
                    <a:pt x="142" y="88"/>
                  </a:cubicBezTo>
                  <a:cubicBezTo>
                    <a:pt x="142" y="88"/>
                    <a:pt x="142" y="88"/>
                    <a:pt x="142" y="88"/>
                  </a:cubicBezTo>
                  <a:lnTo>
                    <a:pt x="142" y="34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0" name="Freeform 28"/>
            <p:cNvSpPr>
              <a:spLocks/>
            </p:cNvSpPr>
            <p:nvPr userDrawn="1"/>
          </p:nvSpPr>
          <p:spPr bwMode="auto">
            <a:xfrm>
              <a:off x="4570413" y="3209926"/>
              <a:ext cx="458788" cy="530225"/>
            </a:xfrm>
            <a:custGeom>
              <a:avLst/>
              <a:gdLst>
                <a:gd name="T0" fmla="*/ 144 w 289"/>
                <a:gd name="T1" fmla="*/ 279 h 334"/>
                <a:gd name="T2" fmla="*/ 144 w 289"/>
                <a:gd name="T3" fmla="*/ 279 h 334"/>
                <a:gd name="T4" fmla="*/ 47 w 289"/>
                <a:gd name="T5" fmla="*/ 223 h 334"/>
                <a:gd name="T6" fmla="*/ 47 w 289"/>
                <a:gd name="T7" fmla="*/ 110 h 334"/>
                <a:gd name="T8" fmla="*/ 144 w 289"/>
                <a:gd name="T9" fmla="*/ 54 h 334"/>
                <a:gd name="T10" fmla="*/ 242 w 289"/>
                <a:gd name="T11" fmla="*/ 110 h 334"/>
                <a:gd name="T12" fmla="*/ 242 w 289"/>
                <a:gd name="T13" fmla="*/ 111 h 334"/>
                <a:gd name="T14" fmla="*/ 289 w 289"/>
                <a:gd name="T15" fmla="*/ 83 h 334"/>
                <a:gd name="T16" fmla="*/ 144 w 289"/>
                <a:gd name="T17" fmla="*/ 0 h 334"/>
                <a:gd name="T18" fmla="*/ 0 w 289"/>
                <a:gd name="T19" fmla="*/ 83 h 334"/>
                <a:gd name="T20" fmla="*/ 0 w 289"/>
                <a:gd name="T21" fmla="*/ 250 h 334"/>
                <a:gd name="T22" fmla="*/ 144 w 289"/>
                <a:gd name="T23" fmla="*/ 334 h 334"/>
                <a:gd name="T24" fmla="*/ 144 w 289"/>
                <a:gd name="T25" fmla="*/ 334 h 334"/>
                <a:gd name="T26" fmla="*/ 144 w 289"/>
                <a:gd name="T27" fmla="*/ 27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334">
                  <a:moveTo>
                    <a:pt x="144" y="279"/>
                  </a:moveTo>
                  <a:lnTo>
                    <a:pt x="144" y="279"/>
                  </a:lnTo>
                  <a:lnTo>
                    <a:pt x="47" y="223"/>
                  </a:lnTo>
                  <a:lnTo>
                    <a:pt x="47" y="110"/>
                  </a:lnTo>
                  <a:lnTo>
                    <a:pt x="144" y="54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89" y="83"/>
                  </a:lnTo>
                  <a:lnTo>
                    <a:pt x="144" y="0"/>
                  </a:lnTo>
                  <a:lnTo>
                    <a:pt x="0" y="83"/>
                  </a:lnTo>
                  <a:lnTo>
                    <a:pt x="0" y="250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4" y="279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01" name="Freeform 6"/>
          <p:cNvSpPr>
            <a:spLocks/>
          </p:cNvSpPr>
          <p:nvPr userDrawn="1"/>
        </p:nvSpPr>
        <p:spPr bwMode="auto">
          <a:xfrm>
            <a:off x="9233487" y="2228929"/>
            <a:ext cx="2009175" cy="807831"/>
          </a:xfrm>
          <a:custGeom>
            <a:avLst/>
            <a:gdLst>
              <a:gd name="T0" fmla="*/ 1131 w 1266"/>
              <a:gd name="T1" fmla="*/ 241 h 510"/>
              <a:gd name="T2" fmla="*/ 1108 w 1266"/>
              <a:gd name="T3" fmla="*/ 241 h 510"/>
              <a:gd name="T4" fmla="*/ 853 w 1266"/>
              <a:gd name="T5" fmla="*/ 0 h 510"/>
              <a:gd name="T6" fmla="*/ 605 w 1266"/>
              <a:gd name="T7" fmla="*/ 188 h 510"/>
              <a:gd name="T8" fmla="*/ 469 w 1266"/>
              <a:gd name="T9" fmla="*/ 131 h 510"/>
              <a:gd name="T10" fmla="*/ 280 w 1266"/>
              <a:gd name="T11" fmla="*/ 303 h 510"/>
              <a:gd name="T12" fmla="*/ 192 w 1266"/>
              <a:gd name="T13" fmla="*/ 344 h 510"/>
              <a:gd name="T14" fmla="*/ 107 w 1266"/>
              <a:gd name="T15" fmla="*/ 300 h 510"/>
              <a:gd name="T16" fmla="*/ 0 w 1266"/>
              <a:gd name="T17" fmla="*/ 404 h 510"/>
              <a:gd name="T18" fmla="*/ 107 w 1266"/>
              <a:gd name="T19" fmla="*/ 510 h 510"/>
              <a:gd name="T20" fmla="*/ 135 w 1266"/>
              <a:gd name="T21" fmla="*/ 510 h 510"/>
              <a:gd name="T22" fmla="*/ 482 w 1266"/>
              <a:gd name="T23" fmla="*/ 510 h 510"/>
              <a:gd name="T24" fmla="*/ 674 w 1266"/>
              <a:gd name="T25" fmla="*/ 510 h 510"/>
              <a:gd name="T26" fmla="*/ 1140 w 1266"/>
              <a:gd name="T27" fmla="*/ 510 h 510"/>
              <a:gd name="T28" fmla="*/ 1140 w 1266"/>
              <a:gd name="T29" fmla="*/ 510 h 510"/>
              <a:gd name="T30" fmla="*/ 1266 w 1266"/>
              <a:gd name="T31" fmla="*/ 375 h 510"/>
              <a:gd name="T32" fmla="*/ 1131 w 1266"/>
              <a:gd name="T33" fmla="*/ 241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66" h="510">
                <a:moveTo>
                  <a:pt x="1131" y="241"/>
                </a:moveTo>
                <a:cubicBezTo>
                  <a:pt x="1124" y="241"/>
                  <a:pt x="1118" y="241"/>
                  <a:pt x="1108" y="241"/>
                </a:cubicBezTo>
                <a:cubicBezTo>
                  <a:pt x="1102" y="106"/>
                  <a:pt x="992" y="0"/>
                  <a:pt x="853" y="0"/>
                </a:cubicBezTo>
                <a:cubicBezTo>
                  <a:pt x="734" y="0"/>
                  <a:pt x="636" y="81"/>
                  <a:pt x="605" y="188"/>
                </a:cubicBezTo>
                <a:cubicBezTo>
                  <a:pt x="570" y="153"/>
                  <a:pt x="523" y="131"/>
                  <a:pt x="469" y="131"/>
                </a:cubicBezTo>
                <a:cubicBezTo>
                  <a:pt x="372" y="131"/>
                  <a:pt x="290" y="206"/>
                  <a:pt x="280" y="303"/>
                </a:cubicBezTo>
                <a:cubicBezTo>
                  <a:pt x="249" y="307"/>
                  <a:pt x="217" y="322"/>
                  <a:pt x="192" y="344"/>
                </a:cubicBezTo>
                <a:cubicBezTo>
                  <a:pt x="173" y="316"/>
                  <a:pt x="142" y="300"/>
                  <a:pt x="107" y="300"/>
                </a:cubicBezTo>
                <a:cubicBezTo>
                  <a:pt x="47" y="300"/>
                  <a:pt x="0" y="347"/>
                  <a:pt x="0" y="404"/>
                </a:cubicBezTo>
                <a:cubicBezTo>
                  <a:pt x="0" y="463"/>
                  <a:pt x="47" y="510"/>
                  <a:pt x="107" y="510"/>
                </a:cubicBezTo>
                <a:cubicBezTo>
                  <a:pt x="135" y="510"/>
                  <a:pt x="135" y="510"/>
                  <a:pt x="135" y="510"/>
                </a:cubicBezTo>
                <a:cubicBezTo>
                  <a:pt x="482" y="510"/>
                  <a:pt x="482" y="510"/>
                  <a:pt x="482" y="510"/>
                </a:cubicBezTo>
                <a:cubicBezTo>
                  <a:pt x="674" y="510"/>
                  <a:pt x="674" y="510"/>
                  <a:pt x="674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140" y="510"/>
                  <a:pt x="1140" y="510"/>
                  <a:pt x="1140" y="510"/>
                </a:cubicBezTo>
                <a:cubicBezTo>
                  <a:pt x="1209" y="504"/>
                  <a:pt x="1266" y="447"/>
                  <a:pt x="1266" y="375"/>
                </a:cubicBezTo>
                <a:cubicBezTo>
                  <a:pt x="1266" y="300"/>
                  <a:pt x="1206" y="241"/>
                  <a:pt x="1131" y="2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grpSp>
        <p:nvGrpSpPr>
          <p:cNvPr id="102" name="Group 101"/>
          <p:cNvGrpSpPr/>
          <p:nvPr userDrawn="1"/>
        </p:nvGrpSpPr>
        <p:grpSpPr>
          <a:xfrm>
            <a:off x="1004585" y="2308309"/>
            <a:ext cx="3321130" cy="437381"/>
            <a:chOff x="1092200" y="1960563"/>
            <a:chExt cx="3387726" cy="446088"/>
          </a:xfrm>
        </p:grpSpPr>
        <p:sp>
          <p:nvSpPr>
            <p:cNvPr id="103" name="Freeform 33"/>
            <p:cNvSpPr>
              <a:spLocks/>
            </p:cNvSpPr>
            <p:nvPr userDrawn="1"/>
          </p:nvSpPr>
          <p:spPr bwMode="auto">
            <a:xfrm>
              <a:off x="1092200" y="1981201"/>
              <a:ext cx="344488" cy="317500"/>
            </a:xfrm>
            <a:custGeom>
              <a:avLst/>
              <a:gdLst>
                <a:gd name="T0" fmla="*/ 181 w 213"/>
                <a:gd name="T1" fmla="*/ 197 h 197"/>
                <a:gd name="T2" fmla="*/ 181 w 213"/>
                <a:gd name="T3" fmla="*/ 72 h 197"/>
                <a:gd name="T4" fmla="*/ 182 w 213"/>
                <a:gd name="T5" fmla="*/ 29 h 197"/>
                <a:gd name="T6" fmla="*/ 182 w 213"/>
                <a:gd name="T7" fmla="*/ 29 h 197"/>
                <a:gd name="T8" fmla="*/ 176 w 213"/>
                <a:gd name="T9" fmla="*/ 51 h 197"/>
                <a:gd name="T10" fmla="*/ 117 w 213"/>
                <a:gd name="T11" fmla="*/ 197 h 197"/>
                <a:gd name="T12" fmla="*/ 95 w 213"/>
                <a:gd name="T13" fmla="*/ 197 h 197"/>
                <a:gd name="T14" fmla="*/ 35 w 213"/>
                <a:gd name="T15" fmla="*/ 53 h 197"/>
                <a:gd name="T16" fmla="*/ 30 w 213"/>
                <a:gd name="T17" fmla="*/ 29 h 197"/>
                <a:gd name="T18" fmla="*/ 29 w 213"/>
                <a:gd name="T19" fmla="*/ 29 h 197"/>
                <a:gd name="T20" fmla="*/ 30 w 213"/>
                <a:gd name="T21" fmla="*/ 49 h 197"/>
                <a:gd name="T22" fmla="*/ 30 w 213"/>
                <a:gd name="T23" fmla="*/ 76 h 197"/>
                <a:gd name="T24" fmla="*/ 30 w 213"/>
                <a:gd name="T25" fmla="*/ 197 h 197"/>
                <a:gd name="T26" fmla="*/ 0 w 213"/>
                <a:gd name="T27" fmla="*/ 197 h 197"/>
                <a:gd name="T28" fmla="*/ 0 w 213"/>
                <a:gd name="T29" fmla="*/ 0 h 197"/>
                <a:gd name="T30" fmla="*/ 47 w 213"/>
                <a:gd name="T31" fmla="*/ 0 h 197"/>
                <a:gd name="T32" fmla="*/ 97 w 213"/>
                <a:gd name="T33" fmla="*/ 124 h 197"/>
                <a:gd name="T34" fmla="*/ 106 w 213"/>
                <a:gd name="T35" fmla="*/ 152 h 197"/>
                <a:gd name="T36" fmla="*/ 106 w 213"/>
                <a:gd name="T37" fmla="*/ 152 h 197"/>
                <a:gd name="T38" fmla="*/ 117 w 213"/>
                <a:gd name="T39" fmla="*/ 124 h 197"/>
                <a:gd name="T40" fmla="*/ 168 w 213"/>
                <a:gd name="T41" fmla="*/ 0 h 197"/>
                <a:gd name="T42" fmla="*/ 213 w 213"/>
                <a:gd name="T43" fmla="*/ 0 h 197"/>
                <a:gd name="T44" fmla="*/ 213 w 213"/>
                <a:gd name="T45" fmla="*/ 197 h 197"/>
                <a:gd name="T46" fmla="*/ 181 w 213"/>
                <a:gd name="T4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97">
                  <a:moveTo>
                    <a:pt x="181" y="197"/>
                  </a:moveTo>
                  <a:cubicBezTo>
                    <a:pt x="181" y="72"/>
                    <a:pt x="181" y="72"/>
                    <a:pt x="181" y="72"/>
                  </a:cubicBezTo>
                  <a:cubicBezTo>
                    <a:pt x="181" y="62"/>
                    <a:pt x="181" y="48"/>
                    <a:pt x="182" y="29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0" y="39"/>
                    <a:pt x="178" y="47"/>
                    <a:pt x="176" y="51"/>
                  </a:cubicBezTo>
                  <a:cubicBezTo>
                    <a:pt x="117" y="197"/>
                    <a:pt x="117" y="197"/>
                    <a:pt x="117" y="197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48"/>
                    <a:pt x="32" y="40"/>
                    <a:pt x="30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32"/>
                    <a:pt x="29" y="38"/>
                    <a:pt x="30" y="49"/>
                  </a:cubicBezTo>
                  <a:cubicBezTo>
                    <a:pt x="30" y="59"/>
                    <a:pt x="30" y="68"/>
                    <a:pt x="30" y="76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101" y="136"/>
                    <a:pt x="104" y="146"/>
                    <a:pt x="106" y="152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7" y="124"/>
                    <a:pt x="117" y="124"/>
                    <a:pt x="117" y="124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197"/>
                    <a:pt x="213" y="197"/>
                    <a:pt x="213" y="197"/>
                  </a:cubicBezTo>
                  <a:lnTo>
                    <a:pt x="181" y="1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4" name="Freeform 34"/>
            <p:cNvSpPr>
              <a:spLocks noEditPoints="1"/>
            </p:cNvSpPr>
            <p:nvPr userDrawn="1"/>
          </p:nvSpPr>
          <p:spPr bwMode="auto">
            <a:xfrm>
              <a:off x="1495425" y="2066926"/>
              <a:ext cx="233363" cy="236538"/>
            </a:xfrm>
            <a:custGeom>
              <a:avLst/>
              <a:gdLst>
                <a:gd name="T0" fmla="*/ 145 w 145"/>
                <a:gd name="T1" fmla="*/ 72 h 147"/>
                <a:gd name="T2" fmla="*/ 125 w 145"/>
                <a:gd name="T3" fmla="*/ 127 h 147"/>
                <a:gd name="T4" fmla="*/ 71 w 145"/>
                <a:gd name="T5" fmla="*/ 147 h 147"/>
                <a:gd name="T6" fmla="*/ 19 w 145"/>
                <a:gd name="T7" fmla="*/ 128 h 147"/>
                <a:gd name="T8" fmla="*/ 0 w 145"/>
                <a:gd name="T9" fmla="*/ 75 h 147"/>
                <a:gd name="T10" fmla="*/ 20 w 145"/>
                <a:gd name="T11" fmla="*/ 20 h 147"/>
                <a:gd name="T12" fmla="*/ 75 w 145"/>
                <a:gd name="T13" fmla="*/ 0 h 147"/>
                <a:gd name="T14" fmla="*/ 126 w 145"/>
                <a:gd name="T15" fmla="*/ 19 h 147"/>
                <a:gd name="T16" fmla="*/ 145 w 145"/>
                <a:gd name="T17" fmla="*/ 72 h 147"/>
                <a:gd name="T18" fmla="*/ 112 w 145"/>
                <a:gd name="T19" fmla="*/ 73 h 147"/>
                <a:gd name="T20" fmla="*/ 101 w 145"/>
                <a:gd name="T21" fmla="*/ 38 h 147"/>
                <a:gd name="T22" fmla="*/ 73 w 145"/>
                <a:gd name="T23" fmla="*/ 26 h 147"/>
                <a:gd name="T24" fmla="*/ 44 w 145"/>
                <a:gd name="T25" fmla="*/ 39 h 147"/>
                <a:gd name="T26" fmla="*/ 33 w 145"/>
                <a:gd name="T27" fmla="*/ 74 h 147"/>
                <a:gd name="T28" fmla="*/ 44 w 145"/>
                <a:gd name="T29" fmla="*/ 109 h 147"/>
                <a:gd name="T30" fmla="*/ 73 w 145"/>
                <a:gd name="T31" fmla="*/ 121 h 147"/>
                <a:gd name="T32" fmla="*/ 102 w 145"/>
                <a:gd name="T33" fmla="*/ 109 h 147"/>
                <a:gd name="T34" fmla="*/ 112 w 145"/>
                <a:gd name="T35" fmla="*/ 7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7">
                  <a:moveTo>
                    <a:pt x="145" y="72"/>
                  </a:moveTo>
                  <a:cubicBezTo>
                    <a:pt x="145" y="95"/>
                    <a:pt x="138" y="113"/>
                    <a:pt x="125" y="127"/>
                  </a:cubicBezTo>
                  <a:cubicBezTo>
                    <a:pt x="112" y="141"/>
                    <a:pt x="94" y="147"/>
                    <a:pt x="71" y="147"/>
                  </a:cubicBezTo>
                  <a:cubicBezTo>
                    <a:pt x="50" y="147"/>
                    <a:pt x="32" y="141"/>
                    <a:pt x="19" y="128"/>
                  </a:cubicBezTo>
                  <a:cubicBezTo>
                    <a:pt x="7" y="115"/>
                    <a:pt x="0" y="97"/>
                    <a:pt x="0" y="75"/>
                  </a:cubicBezTo>
                  <a:cubicBezTo>
                    <a:pt x="0" y="52"/>
                    <a:pt x="7" y="34"/>
                    <a:pt x="20" y="20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6"/>
                    <a:pt x="126" y="19"/>
                  </a:cubicBezTo>
                  <a:cubicBezTo>
                    <a:pt x="139" y="32"/>
                    <a:pt x="145" y="50"/>
                    <a:pt x="145" y="72"/>
                  </a:cubicBezTo>
                  <a:close/>
                  <a:moveTo>
                    <a:pt x="112" y="73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0"/>
                    <a:pt x="44" y="39"/>
                  </a:cubicBezTo>
                  <a:cubicBezTo>
                    <a:pt x="37" y="47"/>
                    <a:pt x="33" y="59"/>
                    <a:pt x="33" y="74"/>
                  </a:cubicBezTo>
                  <a:cubicBezTo>
                    <a:pt x="33" y="89"/>
                    <a:pt x="37" y="101"/>
                    <a:pt x="44" y="109"/>
                  </a:cubicBezTo>
                  <a:cubicBezTo>
                    <a:pt x="51" y="117"/>
                    <a:pt x="61" y="121"/>
                    <a:pt x="73" y="121"/>
                  </a:cubicBezTo>
                  <a:cubicBezTo>
                    <a:pt x="86" y="121"/>
                    <a:pt x="95" y="117"/>
                    <a:pt x="102" y="109"/>
                  </a:cubicBezTo>
                  <a:cubicBezTo>
                    <a:pt x="108" y="101"/>
                    <a:pt x="112" y="89"/>
                    <a:pt x="112" y="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5" name="Freeform 35"/>
            <p:cNvSpPr>
              <a:spLocks noEditPoints="1"/>
            </p:cNvSpPr>
            <p:nvPr userDrawn="1"/>
          </p:nvSpPr>
          <p:spPr bwMode="auto">
            <a:xfrm>
              <a:off x="1765300" y="1962151"/>
              <a:ext cx="222250" cy="341313"/>
            </a:xfrm>
            <a:custGeom>
              <a:avLst/>
              <a:gdLst>
                <a:gd name="T0" fmla="*/ 105 w 137"/>
                <a:gd name="T1" fmla="*/ 208 h 211"/>
                <a:gd name="T2" fmla="*/ 105 w 137"/>
                <a:gd name="T3" fmla="*/ 186 h 211"/>
                <a:gd name="T4" fmla="*/ 105 w 137"/>
                <a:gd name="T5" fmla="*/ 186 h 211"/>
                <a:gd name="T6" fmla="*/ 58 w 137"/>
                <a:gd name="T7" fmla="*/ 211 h 211"/>
                <a:gd name="T8" fmla="*/ 16 w 137"/>
                <a:gd name="T9" fmla="*/ 192 h 211"/>
                <a:gd name="T10" fmla="*/ 0 w 137"/>
                <a:gd name="T11" fmla="*/ 141 h 211"/>
                <a:gd name="T12" fmla="*/ 18 w 137"/>
                <a:gd name="T13" fmla="*/ 85 h 211"/>
                <a:gd name="T14" fmla="*/ 65 w 137"/>
                <a:gd name="T15" fmla="*/ 64 h 211"/>
                <a:gd name="T16" fmla="*/ 88 w 137"/>
                <a:gd name="T17" fmla="*/ 69 h 211"/>
                <a:gd name="T18" fmla="*/ 105 w 137"/>
                <a:gd name="T19" fmla="*/ 85 h 211"/>
                <a:gd name="T20" fmla="*/ 105 w 137"/>
                <a:gd name="T21" fmla="*/ 85 h 211"/>
                <a:gd name="T22" fmla="*/ 105 w 137"/>
                <a:gd name="T23" fmla="*/ 0 h 211"/>
                <a:gd name="T24" fmla="*/ 137 w 137"/>
                <a:gd name="T25" fmla="*/ 0 h 211"/>
                <a:gd name="T26" fmla="*/ 137 w 137"/>
                <a:gd name="T27" fmla="*/ 208 h 211"/>
                <a:gd name="T28" fmla="*/ 105 w 137"/>
                <a:gd name="T29" fmla="*/ 208 h 211"/>
                <a:gd name="T30" fmla="*/ 105 w 137"/>
                <a:gd name="T31" fmla="*/ 126 h 211"/>
                <a:gd name="T32" fmla="*/ 95 w 137"/>
                <a:gd name="T33" fmla="*/ 100 h 211"/>
                <a:gd name="T34" fmla="*/ 71 w 137"/>
                <a:gd name="T35" fmla="*/ 90 h 211"/>
                <a:gd name="T36" fmla="*/ 43 w 137"/>
                <a:gd name="T37" fmla="*/ 103 h 211"/>
                <a:gd name="T38" fmla="*/ 33 w 137"/>
                <a:gd name="T39" fmla="*/ 140 h 211"/>
                <a:gd name="T40" fmla="*/ 43 w 137"/>
                <a:gd name="T41" fmla="*/ 173 h 211"/>
                <a:gd name="T42" fmla="*/ 69 w 137"/>
                <a:gd name="T43" fmla="*/ 185 h 211"/>
                <a:gd name="T44" fmla="*/ 95 w 137"/>
                <a:gd name="T45" fmla="*/ 173 h 211"/>
                <a:gd name="T46" fmla="*/ 105 w 137"/>
                <a:gd name="T47" fmla="*/ 142 h 211"/>
                <a:gd name="T48" fmla="*/ 105 w 137"/>
                <a:gd name="T49" fmla="*/ 12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211">
                  <a:moveTo>
                    <a:pt x="105" y="208"/>
                  </a:moveTo>
                  <a:cubicBezTo>
                    <a:pt x="105" y="186"/>
                    <a:pt x="105" y="186"/>
                    <a:pt x="105" y="186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95" y="203"/>
                    <a:pt x="79" y="211"/>
                    <a:pt x="58" y="211"/>
                  </a:cubicBezTo>
                  <a:cubicBezTo>
                    <a:pt x="41" y="211"/>
                    <a:pt x="27" y="205"/>
                    <a:pt x="16" y="192"/>
                  </a:cubicBezTo>
                  <a:cubicBezTo>
                    <a:pt x="5" y="180"/>
                    <a:pt x="0" y="163"/>
                    <a:pt x="0" y="141"/>
                  </a:cubicBezTo>
                  <a:cubicBezTo>
                    <a:pt x="0" y="118"/>
                    <a:pt x="6" y="99"/>
                    <a:pt x="18" y="85"/>
                  </a:cubicBezTo>
                  <a:cubicBezTo>
                    <a:pt x="29" y="71"/>
                    <a:pt x="45" y="64"/>
                    <a:pt x="65" y="64"/>
                  </a:cubicBezTo>
                  <a:cubicBezTo>
                    <a:pt x="74" y="64"/>
                    <a:pt x="81" y="66"/>
                    <a:pt x="88" y="69"/>
                  </a:cubicBezTo>
                  <a:cubicBezTo>
                    <a:pt x="95" y="73"/>
                    <a:pt x="101" y="78"/>
                    <a:pt x="105" y="85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208"/>
                    <a:pt x="137" y="208"/>
                    <a:pt x="137" y="208"/>
                  </a:cubicBezTo>
                  <a:lnTo>
                    <a:pt x="105" y="208"/>
                  </a:lnTo>
                  <a:close/>
                  <a:moveTo>
                    <a:pt x="105" y="126"/>
                  </a:moveTo>
                  <a:cubicBezTo>
                    <a:pt x="105" y="116"/>
                    <a:pt x="102" y="107"/>
                    <a:pt x="95" y="100"/>
                  </a:cubicBezTo>
                  <a:cubicBezTo>
                    <a:pt x="89" y="93"/>
                    <a:pt x="81" y="90"/>
                    <a:pt x="71" y="90"/>
                  </a:cubicBezTo>
                  <a:cubicBezTo>
                    <a:pt x="59" y="90"/>
                    <a:pt x="50" y="94"/>
                    <a:pt x="43" y="103"/>
                  </a:cubicBezTo>
                  <a:cubicBezTo>
                    <a:pt x="36" y="112"/>
                    <a:pt x="33" y="124"/>
                    <a:pt x="33" y="140"/>
                  </a:cubicBezTo>
                  <a:cubicBezTo>
                    <a:pt x="33" y="154"/>
                    <a:pt x="36" y="165"/>
                    <a:pt x="43" y="173"/>
                  </a:cubicBezTo>
                  <a:cubicBezTo>
                    <a:pt x="49" y="181"/>
                    <a:pt x="58" y="185"/>
                    <a:pt x="69" y="185"/>
                  </a:cubicBezTo>
                  <a:cubicBezTo>
                    <a:pt x="79" y="185"/>
                    <a:pt x="88" y="181"/>
                    <a:pt x="95" y="173"/>
                  </a:cubicBezTo>
                  <a:cubicBezTo>
                    <a:pt x="102" y="165"/>
                    <a:pt x="105" y="155"/>
                    <a:pt x="105" y="142"/>
                  </a:cubicBezTo>
                  <a:lnTo>
                    <a:pt x="10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6" name="Freeform 36"/>
            <p:cNvSpPr>
              <a:spLocks noEditPoints="1"/>
            </p:cNvSpPr>
            <p:nvPr userDrawn="1"/>
          </p:nvSpPr>
          <p:spPr bwMode="auto">
            <a:xfrm>
              <a:off x="2039938" y="2066926"/>
              <a:ext cx="207963" cy="236538"/>
            </a:xfrm>
            <a:custGeom>
              <a:avLst/>
              <a:gdLst>
                <a:gd name="T0" fmla="*/ 32 w 128"/>
                <a:gd name="T1" fmla="*/ 83 h 147"/>
                <a:gd name="T2" fmla="*/ 44 w 128"/>
                <a:gd name="T3" fmla="*/ 112 h 147"/>
                <a:gd name="T4" fmla="*/ 75 w 128"/>
                <a:gd name="T5" fmla="*/ 122 h 147"/>
                <a:gd name="T6" fmla="*/ 98 w 128"/>
                <a:gd name="T7" fmla="*/ 118 h 147"/>
                <a:gd name="T8" fmla="*/ 117 w 128"/>
                <a:gd name="T9" fmla="*/ 109 h 147"/>
                <a:gd name="T10" fmla="*/ 117 w 128"/>
                <a:gd name="T11" fmla="*/ 136 h 147"/>
                <a:gd name="T12" fmla="*/ 95 w 128"/>
                <a:gd name="T13" fmla="*/ 144 h 147"/>
                <a:gd name="T14" fmla="*/ 67 w 128"/>
                <a:gd name="T15" fmla="*/ 147 h 147"/>
                <a:gd name="T16" fmla="*/ 17 w 128"/>
                <a:gd name="T17" fmla="*/ 128 h 147"/>
                <a:gd name="T18" fmla="*/ 0 w 128"/>
                <a:gd name="T19" fmla="*/ 75 h 147"/>
                <a:gd name="T20" fmla="*/ 9 w 128"/>
                <a:gd name="T21" fmla="*/ 36 h 147"/>
                <a:gd name="T22" fmla="*/ 33 w 128"/>
                <a:gd name="T23" fmla="*/ 9 h 147"/>
                <a:gd name="T24" fmla="*/ 67 w 128"/>
                <a:gd name="T25" fmla="*/ 0 h 147"/>
                <a:gd name="T26" fmla="*/ 112 w 128"/>
                <a:gd name="T27" fmla="*/ 18 h 147"/>
                <a:gd name="T28" fmla="*/ 128 w 128"/>
                <a:gd name="T29" fmla="*/ 67 h 147"/>
                <a:gd name="T30" fmla="*/ 128 w 128"/>
                <a:gd name="T31" fmla="*/ 83 h 147"/>
                <a:gd name="T32" fmla="*/ 32 w 128"/>
                <a:gd name="T33" fmla="*/ 83 h 147"/>
                <a:gd name="T34" fmla="*/ 97 w 128"/>
                <a:gd name="T35" fmla="*/ 59 h 147"/>
                <a:gd name="T36" fmla="*/ 89 w 128"/>
                <a:gd name="T37" fmla="*/ 34 h 147"/>
                <a:gd name="T38" fmla="*/ 67 w 128"/>
                <a:gd name="T39" fmla="*/ 25 h 147"/>
                <a:gd name="T40" fmla="*/ 44 w 128"/>
                <a:gd name="T41" fmla="*/ 34 h 147"/>
                <a:gd name="T42" fmla="*/ 32 w 128"/>
                <a:gd name="T43" fmla="*/ 59 h 147"/>
                <a:gd name="T44" fmla="*/ 97 w 128"/>
                <a:gd name="T45" fmla="*/ 5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7">
                  <a:moveTo>
                    <a:pt x="32" y="83"/>
                  </a:moveTo>
                  <a:cubicBezTo>
                    <a:pt x="33" y="96"/>
                    <a:pt x="37" y="106"/>
                    <a:pt x="44" y="112"/>
                  </a:cubicBezTo>
                  <a:cubicBezTo>
                    <a:pt x="51" y="119"/>
                    <a:pt x="61" y="122"/>
                    <a:pt x="75" y="122"/>
                  </a:cubicBezTo>
                  <a:cubicBezTo>
                    <a:pt x="83" y="122"/>
                    <a:pt x="90" y="121"/>
                    <a:pt x="98" y="118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39"/>
                    <a:pt x="104" y="142"/>
                    <a:pt x="95" y="144"/>
                  </a:cubicBezTo>
                  <a:cubicBezTo>
                    <a:pt x="86" y="146"/>
                    <a:pt x="77" y="147"/>
                    <a:pt x="67" y="147"/>
                  </a:cubicBezTo>
                  <a:cubicBezTo>
                    <a:pt x="46" y="147"/>
                    <a:pt x="29" y="141"/>
                    <a:pt x="17" y="128"/>
                  </a:cubicBezTo>
                  <a:cubicBezTo>
                    <a:pt x="6" y="115"/>
                    <a:pt x="0" y="98"/>
                    <a:pt x="0" y="75"/>
                  </a:cubicBezTo>
                  <a:cubicBezTo>
                    <a:pt x="0" y="60"/>
                    <a:pt x="3" y="47"/>
                    <a:pt x="9" y="36"/>
                  </a:cubicBezTo>
                  <a:cubicBezTo>
                    <a:pt x="14" y="24"/>
                    <a:pt x="22" y="16"/>
                    <a:pt x="33" y="9"/>
                  </a:cubicBezTo>
                  <a:cubicBezTo>
                    <a:pt x="43" y="3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6"/>
                    <a:pt x="128" y="67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7" y="59"/>
                  </a:moveTo>
                  <a:cubicBezTo>
                    <a:pt x="97" y="48"/>
                    <a:pt x="94" y="39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1" y="28"/>
                    <a:pt x="44" y="34"/>
                  </a:cubicBezTo>
                  <a:cubicBezTo>
                    <a:pt x="38" y="41"/>
                    <a:pt x="34" y="49"/>
                    <a:pt x="32" y="59"/>
                  </a:cubicBezTo>
                  <a:lnTo>
                    <a:pt x="97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7" name="Freeform 37"/>
            <p:cNvSpPr>
              <a:spLocks/>
            </p:cNvSpPr>
            <p:nvPr userDrawn="1"/>
          </p:nvSpPr>
          <p:spPr bwMode="auto">
            <a:xfrm>
              <a:off x="2295525" y="2068513"/>
              <a:ext cx="131763" cy="230188"/>
            </a:xfrm>
            <a:custGeom>
              <a:avLst/>
              <a:gdLst>
                <a:gd name="T0" fmla="*/ 81 w 81"/>
                <a:gd name="T1" fmla="*/ 33 h 143"/>
                <a:gd name="T2" fmla="*/ 73 w 81"/>
                <a:gd name="T3" fmla="*/ 30 h 143"/>
                <a:gd name="T4" fmla="*/ 63 w 81"/>
                <a:gd name="T5" fmla="*/ 28 h 143"/>
                <a:gd name="T6" fmla="*/ 41 w 81"/>
                <a:gd name="T7" fmla="*/ 40 h 143"/>
                <a:gd name="T8" fmla="*/ 32 w 81"/>
                <a:gd name="T9" fmla="*/ 71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2 h 143"/>
                <a:gd name="T16" fmla="*/ 32 w 81"/>
                <a:gd name="T17" fmla="*/ 2 h 143"/>
                <a:gd name="T18" fmla="*/ 32 w 81"/>
                <a:gd name="T19" fmla="*/ 30 h 143"/>
                <a:gd name="T20" fmla="*/ 33 w 81"/>
                <a:gd name="T21" fmla="*/ 30 h 143"/>
                <a:gd name="T22" fmla="*/ 47 w 81"/>
                <a:gd name="T23" fmla="*/ 8 h 143"/>
                <a:gd name="T24" fmla="*/ 69 w 81"/>
                <a:gd name="T25" fmla="*/ 0 h 143"/>
                <a:gd name="T26" fmla="*/ 81 w 81"/>
                <a:gd name="T27" fmla="*/ 2 h 143"/>
                <a:gd name="T28" fmla="*/ 81 w 81"/>
                <a:gd name="T29" fmla="*/ 3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3"/>
                  </a:moveTo>
                  <a:cubicBezTo>
                    <a:pt x="80" y="32"/>
                    <a:pt x="77" y="31"/>
                    <a:pt x="73" y="30"/>
                  </a:cubicBezTo>
                  <a:cubicBezTo>
                    <a:pt x="70" y="29"/>
                    <a:pt x="66" y="28"/>
                    <a:pt x="63" y="28"/>
                  </a:cubicBezTo>
                  <a:cubicBezTo>
                    <a:pt x="54" y="28"/>
                    <a:pt x="46" y="32"/>
                    <a:pt x="41" y="40"/>
                  </a:cubicBezTo>
                  <a:cubicBezTo>
                    <a:pt x="35" y="48"/>
                    <a:pt x="32" y="58"/>
                    <a:pt x="32" y="71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6" y="20"/>
                    <a:pt x="41" y="13"/>
                    <a:pt x="47" y="8"/>
                  </a:cubicBezTo>
                  <a:cubicBezTo>
                    <a:pt x="53" y="2"/>
                    <a:pt x="60" y="0"/>
                    <a:pt x="69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8" name="Freeform 38"/>
            <p:cNvSpPr>
              <a:spLocks/>
            </p:cNvSpPr>
            <p:nvPr userDrawn="1"/>
          </p:nvSpPr>
          <p:spPr bwMode="auto">
            <a:xfrm>
              <a:off x="2466975" y="2066926"/>
              <a:ext cx="201613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9" name="Freeform 39"/>
            <p:cNvSpPr>
              <a:spLocks noEditPoints="1"/>
            </p:cNvSpPr>
            <p:nvPr userDrawn="1"/>
          </p:nvSpPr>
          <p:spPr bwMode="auto">
            <a:xfrm>
              <a:off x="27273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20 w 39"/>
                <a:gd name="T5" fmla="*/ 37 h 209"/>
                <a:gd name="T6" fmla="*/ 6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20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30" y="35"/>
                    <a:pt x="25" y="37"/>
                    <a:pt x="20" y="37"/>
                  </a:cubicBezTo>
                  <a:cubicBezTo>
                    <a:pt x="14" y="37"/>
                    <a:pt x="10" y="35"/>
                    <a:pt x="6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5" y="0"/>
                    <a:pt x="30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0" name="Freeform 40"/>
            <p:cNvSpPr>
              <a:spLocks/>
            </p:cNvSpPr>
            <p:nvPr userDrawn="1"/>
          </p:nvSpPr>
          <p:spPr bwMode="auto">
            <a:xfrm>
              <a:off x="2824163" y="2071688"/>
              <a:ext cx="193675" cy="227013"/>
            </a:xfrm>
            <a:custGeom>
              <a:avLst/>
              <a:gdLst>
                <a:gd name="T0" fmla="*/ 46 w 122"/>
                <a:gd name="T1" fmla="*/ 117 h 143"/>
                <a:gd name="T2" fmla="*/ 122 w 122"/>
                <a:gd name="T3" fmla="*/ 117 h 143"/>
                <a:gd name="T4" fmla="*/ 122 w 122"/>
                <a:gd name="T5" fmla="*/ 143 h 143"/>
                <a:gd name="T6" fmla="*/ 0 w 122"/>
                <a:gd name="T7" fmla="*/ 143 h 143"/>
                <a:gd name="T8" fmla="*/ 0 w 122"/>
                <a:gd name="T9" fmla="*/ 132 h 143"/>
                <a:gd name="T10" fmla="*/ 77 w 122"/>
                <a:gd name="T11" fmla="*/ 26 h 143"/>
                <a:gd name="T12" fmla="*/ 8 w 122"/>
                <a:gd name="T13" fmla="*/ 26 h 143"/>
                <a:gd name="T14" fmla="*/ 8 w 122"/>
                <a:gd name="T15" fmla="*/ 0 h 143"/>
                <a:gd name="T16" fmla="*/ 122 w 122"/>
                <a:gd name="T17" fmla="*/ 0 h 143"/>
                <a:gd name="T18" fmla="*/ 122 w 122"/>
                <a:gd name="T19" fmla="*/ 12 h 143"/>
                <a:gd name="T20" fmla="*/ 46 w 122"/>
                <a:gd name="T21" fmla="*/ 1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143">
                  <a:moveTo>
                    <a:pt x="46" y="117"/>
                  </a:moveTo>
                  <a:lnTo>
                    <a:pt x="122" y="117"/>
                  </a:lnTo>
                  <a:lnTo>
                    <a:pt x="122" y="143"/>
                  </a:lnTo>
                  <a:lnTo>
                    <a:pt x="0" y="143"/>
                  </a:lnTo>
                  <a:lnTo>
                    <a:pt x="0" y="132"/>
                  </a:lnTo>
                  <a:lnTo>
                    <a:pt x="77" y="26"/>
                  </a:lnTo>
                  <a:lnTo>
                    <a:pt x="8" y="26"/>
                  </a:lnTo>
                  <a:lnTo>
                    <a:pt x="8" y="0"/>
                  </a:lnTo>
                  <a:lnTo>
                    <a:pt x="122" y="0"/>
                  </a:lnTo>
                  <a:lnTo>
                    <a:pt x="122" y="12"/>
                  </a:lnTo>
                  <a:lnTo>
                    <a:pt x="46" y="1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1" name="Freeform 41"/>
            <p:cNvSpPr>
              <a:spLocks noEditPoints="1"/>
            </p:cNvSpPr>
            <p:nvPr userDrawn="1"/>
          </p:nvSpPr>
          <p:spPr bwMode="auto">
            <a:xfrm>
              <a:off x="3057525" y="1960563"/>
              <a:ext cx="63500" cy="338138"/>
            </a:xfrm>
            <a:custGeom>
              <a:avLst/>
              <a:gdLst>
                <a:gd name="T0" fmla="*/ 39 w 39"/>
                <a:gd name="T1" fmla="*/ 19 h 209"/>
                <a:gd name="T2" fmla="*/ 33 w 39"/>
                <a:gd name="T3" fmla="*/ 32 h 209"/>
                <a:gd name="T4" fmla="*/ 19 w 39"/>
                <a:gd name="T5" fmla="*/ 37 h 209"/>
                <a:gd name="T6" fmla="*/ 5 w 39"/>
                <a:gd name="T7" fmla="*/ 32 h 209"/>
                <a:gd name="T8" fmla="*/ 0 w 39"/>
                <a:gd name="T9" fmla="*/ 19 h 209"/>
                <a:gd name="T10" fmla="*/ 6 w 39"/>
                <a:gd name="T11" fmla="*/ 5 h 209"/>
                <a:gd name="T12" fmla="*/ 19 w 39"/>
                <a:gd name="T13" fmla="*/ 0 h 209"/>
                <a:gd name="T14" fmla="*/ 33 w 39"/>
                <a:gd name="T15" fmla="*/ 5 h 209"/>
                <a:gd name="T16" fmla="*/ 39 w 39"/>
                <a:gd name="T17" fmla="*/ 19 h 209"/>
                <a:gd name="T18" fmla="*/ 3 w 39"/>
                <a:gd name="T19" fmla="*/ 209 h 209"/>
                <a:gd name="T20" fmla="*/ 3 w 39"/>
                <a:gd name="T21" fmla="*/ 68 h 209"/>
                <a:gd name="T22" fmla="*/ 35 w 39"/>
                <a:gd name="T23" fmla="*/ 68 h 209"/>
                <a:gd name="T24" fmla="*/ 35 w 39"/>
                <a:gd name="T25" fmla="*/ 209 h 209"/>
                <a:gd name="T26" fmla="*/ 3 w 39"/>
                <a:gd name="T2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209">
                  <a:moveTo>
                    <a:pt x="39" y="19"/>
                  </a:moveTo>
                  <a:cubicBezTo>
                    <a:pt x="39" y="24"/>
                    <a:pt x="37" y="28"/>
                    <a:pt x="33" y="32"/>
                  </a:cubicBezTo>
                  <a:cubicBezTo>
                    <a:pt x="29" y="35"/>
                    <a:pt x="25" y="37"/>
                    <a:pt x="19" y="37"/>
                  </a:cubicBezTo>
                  <a:cubicBezTo>
                    <a:pt x="14" y="37"/>
                    <a:pt x="9" y="35"/>
                    <a:pt x="5" y="32"/>
                  </a:cubicBezTo>
                  <a:cubicBezTo>
                    <a:pt x="2" y="28"/>
                    <a:pt x="0" y="24"/>
                    <a:pt x="0" y="19"/>
                  </a:cubicBezTo>
                  <a:cubicBezTo>
                    <a:pt x="0" y="13"/>
                    <a:pt x="2" y="9"/>
                    <a:pt x="6" y="5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5" y="0"/>
                    <a:pt x="29" y="2"/>
                    <a:pt x="33" y="5"/>
                  </a:cubicBezTo>
                  <a:cubicBezTo>
                    <a:pt x="37" y="9"/>
                    <a:pt x="39" y="14"/>
                    <a:pt x="39" y="19"/>
                  </a:cubicBezTo>
                  <a:close/>
                  <a:moveTo>
                    <a:pt x="3" y="209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5" y="209"/>
                    <a:pt x="35" y="209"/>
                    <a:pt x="35" y="209"/>
                  </a:cubicBezTo>
                  <a:lnTo>
                    <a:pt x="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2" name="Freeform 42"/>
            <p:cNvSpPr>
              <a:spLocks/>
            </p:cNvSpPr>
            <p:nvPr userDrawn="1"/>
          </p:nvSpPr>
          <p:spPr bwMode="auto">
            <a:xfrm>
              <a:off x="3182938" y="2066926"/>
              <a:ext cx="203200" cy="231775"/>
            </a:xfrm>
            <a:custGeom>
              <a:avLst/>
              <a:gdLst>
                <a:gd name="T0" fmla="*/ 93 w 125"/>
                <a:gd name="T1" fmla="*/ 144 h 144"/>
                <a:gd name="T2" fmla="*/ 93 w 125"/>
                <a:gd name="T3" fmla="*/ 65 h 144"/>
                <a:gd name="T4" fmla="*/ 86 w 125"/>
                <a:gd name="T5" fmla="*/ 36 h 144"/>
                <a:gd name="T6" fmla="*/ 65 w 125"/>
                <a:gd name="T7" fmla="*/ 26 h 144"/>
                <a:gd name="T8" fmla="*/ 41 w 125"/>
                <a:gd name="T9" fmla="*/ 37 h 144"/>
                <a:gd name="T10" fmla="*/ 32 w 125"/>
                <a:gd name="T11" fmla="*/ 64 h 144"/>
                <a:gd name="T12" fmla="*/ 32 w 125"/>
                <a:gd name="T13" fmla="*/ 144 h 144"/>
                <a:gd name="T14" fmla="*/ 0 w 125"/>
                <a:gd name="T15" fmla="*/ 144 h 144"/>
                <a:gd name="T16" fmla="*/ 0 w 125"/>
                <a:gd name="T17" fmla="*/ 3 h 144"/>
                <a:gd name="T18" fmla="*/ 32 w 125"/>
                <a:gd name="T19" fmla="*/ 3 h 144"/>
                <a:gd name="T20" fmla="*/ 32 w 125"/>
                <a:gd name="T21" fmla="*/ 26 h 144"/>
                <a:gd name="T22" fmla="*/ 32 w 125"/>
                <a:gd name="T23" fmla="*/ 26 h 144"/>
                <a:gd name="T24" fmla="*/ 78 w 125"/>
                <a:gd name="T25" fmla="*/ 0 h 144"/>
                <a:gd name="T26" fmla="*/ 112 w 125"/>
                <a:gd name="T27" fmla="*/ 14 h 144"/>
                <a:gd name="T28" fmla="*/ 125 w 125"/>
                <a:gd name="T29" fmla="*/ 58 h 144"/>
                <a:gd name="T30" fmla="*/ 125 w 125"/>
                <a:gd name="T31" fmla="*/ 144 h 144"/>
                <a:gd name="T32" fmla="*/ 93 w 125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4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52"/>
                    <a:pt x="91" y="42"/>
                    <a:pt x="86" y="36"/>
                  </a:cubicBezTo>
                  <a:cubicBezTo>
                    <a:pt x="82" y="29"/>
                    <a:pt x="75" y="26"/>
                    <a:pt x="65" y="26"/>
                  </a:cubicBezTo>
                  <a:cubicBezTo>
                    <a:pt x="55" y="26"/>
                    <a:pt x="47" y="30"/>
                    <a:pt x="41" y="37"/>
                  </a:cubicBezTo>
                  <a:cubicBezTo>
                    <a:pt x="35" y="44"/>
                    <a:pt x="32" y="53"/>
                    <a:pt x="32" y="6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3" y="9"/>
                    <a:pt x="58" y="0"/>
                    <a:pt x="78" y="0"/>
                  </a:cubicBezTo>
                  <a:cubicBezTo>
                    <a:pt x="93" y="0"/>
                    <a:pt x="104" y="5"/>
                    <a:pt x="112" y="14"/>
                  </a:cubicBezTo>
                  <a:cubicBezTo>
                    <a:pt x="121" y="24"/>
                    <a:pt x="125" y="38"/>
                    <a:pt x="125" y="58"/>
                  </a:cubicBezTo>
                  <a:cubicBezTo>
                    <a:pt x="125" y="144"/>
                    <a:pt x="125" y="144"/>
                    <a:pt x="125" y="144"/>
                  </a:cubicBezTo>
                  <a:lnTo>
                    <a:pt x="93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3" name="Freeform 43"/>
            <p:cNvSpPr>
              <a:spLocks noEditPoints="1"/>
            </p:cNvSpPr>
            <p:nvPr userDrawn="1"/>
          </p:nvSpPr>
          <p:spPr bwMode="auto">
            <a:xfrm>
              <a:off x="3433763" y="2066926"/>
              <a:ext cx="220663" cy="339725"/>
            </a:xfrm>
            <a:custGeom>
              <a:avLst/>
              <a:gdLst>
                <a:gd name="T0" fmla="*/ 137 w 137"/>
                <a:gd name="T1" fmla="*/ 131 h 210"/>
                <a:gd name="T2" fmla="*/ 116 w 137"/>
                <a:gd name="T3" fmla="*/ 190 h 210"/>
                <a:gd name="T4" fmla="*/ 57 w 137"/>
                <a:gd name="T5" fmla="*/ 210 h 210"/>
                <a:gd name="T6" fmla="*/ 32 w 137"/>
                <a:gd name="T7" fmla="*/ 207 h 210"/>
                <a:gd name="T8" fmla="*/ 11 w 137"/>
                <a:gd name="T9" fmla="*/ 201 h 210"/>
                <a:gd name="T10" fmla="*/ 11 w 137"/>
                <a:gd name="T11" fmla="*/ 171 h 210"/>
                <a:gd name="T12" fmla="*/ 35 w 137"/>
                <a:gd name="T13" fmla="*/ 182 h 210"/>
                <a:gd name="T14" fmla="*/ 57 w 137"/>
                <a:gd name="T15" fmla="*/ 184 h 210"/>
                <a:gd name="T16" fmla="*/ 92 w 137"/>
                <a:gd name="T17" fmla="*/ 172 h 210"/>
                <a:gd name="T18" fmla="*/ 105 w 137"/>
                <a:gd name="T19" fmla="*/ 135 h 210"/>
                <a:gd name="T20" fmla="*/ 105 w 137"/>
                <a:gd name="T21" fmla="*/ 122 h 210"/>
                <a:gd name="T22" fmla="*/ 104 w 137"/>
                <a:gd name="T23" fmla="*/ 122 h 210"/>
                <a:gd name="T24" fmla="*/ 86 w 137"/>
                <a:gd name="T25" fmla="*/ 141 h 210"/>
                <a:gd name="T26" fmla="*/ 58 w 137"/>
                <a:gd name="T27" fmla="*/ 147 h 210"/>
                <a:gd name="T28" fmla="*/ 16 w 137"/>
                <a:gd name="T29" fmla="*/ 129 h 210"/>
                <a:gd name="T30" fmla="*/ 0 w 137"/>
                <a:gd name="T31" fmla="*/ 78 h 210"/>
                <a:gd name="T32" fmla="*/ 17 w 137"/>
                <a:gd name="T33" fmla="*/ 21 h 210"/>
                <a:gd name="T34" fmla="*/ 64 w 137"/>
                <a:gd name="T35" fmla="*/ 0 h 210"/>
                <a:gd name="T36" fmla="*/ 104 w 137"/>
                <a:gd name="T37" fmla="*/ 21 h 210"/>
                <a:gd name="T38" fmla="*/ 105 w 137"/>
                <a:gd name="T39" fmla="*/ 21 h 210"/>
                <a:gd name="T40" fmla="*/ 105 w 137"/>
                <a:gd name="T41" fmla="*/ 3 h 210"/>
                <a:gd name="T42" fmla="*/ 137 w 137"/>
                <a:gd name="T43" fmla="*/ 3 h 210"/>
                <a:gd name="T44" fmla="*/ 137 w 137"/>
                <a:gd name="T45" fmla="*/ 131 h 210"/>
                <a:gd name="T46" fmla="*/ 105 w 137"/>
                <a:gd name="T47" fmla="*/ 62 h 210"/>
                <a:gd name="T48" fmla="*/ 95 w 137"/>
                <a:gd name="T49" fmla="*/ 36 h 210"/>
                <a:gd name="T50" fmla="*/ 71 w 137"/>
                <a:gd name="T51" fmla="*/ 26 h 210"/>
                <a:gd name="T52" fmla="*/ 43 w 137"/>
                <a:gd name="T53" fmla="*/ 39 h 210"/>
                <a:gd name="T54" fmla="*/ 33 w 137"/>
                <a:gd name="T55" fmla="*/ 77 h 210"/>
                <a:gd name="T56" fmla="*/ 43 w 137"/>
                <a:gd name="T57" fmla="*/ 109 h 210"/>
                <a:gd name="T58" fmla="*/ 68 w 137"/>
                <a:gd name="T59" fmla="*/ 121 h 210"/>
                <a:gd name="T60" fmla="*/ 95 w 137"/>
                <a:gd name="T61" fmla="*/ 109 h 210"/>
                <a:gd name="T62" fmla="*/ 105 w 137"/>
                <a:gd name="T63" fmla="*/ 78 h 210"/>
                <a:gd name="T64" fmla="*/ 105 w 137"/>
                <a:gd name="T65" fmla="*/ 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210">
                  <a:moveTo>
                    <a:pt x="137" y="131"/>
                  </a:moveTo>
                  <a:cubicBezTo>
                    <a:pt x="137" y="156"/>
                    <a:pt x="130" y="176"/>
                    <a:pt x="116" y="190"/>
                  </a:cubicBezTo>
                  <a:cubicBezTo>
                    <a:pt x="102" y="203"/>
                    <a:pt x="83" y="210"/>
                    <a:pt x="57" y="210"/>
                  </a:cubicBezTo>
                  <a:cubicBezTo>
                    <a:pt x="49" y="210"/>
                    <a:pt x="40" y="209"/>
                    <a:pt x="32" y="207"/>
                  </a:cubicBezTo>
                  <a:cubicBezTo>
                    <a:pt x="23" y="206"/>
                    <a:pt x="16" y="204"/>
                    <a:pt x="11" y="201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20" y="176"/>
                    <a:pt x="28" y="180"/>
                    <a:pt x="35" y="182"/>
                  </a:cubicBezTo>
                  <a:cubicBezTo>
                    <a:pt x="42" y="184"/>
                    <a:pt x="50" y="184"/>
                    <a:pt x="57" y="184"/>
                  </a:cubicBezTo>
                  <a:cubicBezTo>
                    <a:pt x="72" y="184"/>
                    <a:pt x="84" y="180"/>
                    <a:pt x="92" y="172"/>
                  </a:cubicBezTo>
                  <a:cubicBezTo>
                    <a:pt x="101" y="164"/>
                    <a:pt x="105" y="151"/>
                    <a:pt x="105" y="135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99" y="130"/>
                    <a:pt x="93" y="136"/>
                    <a:pt x="86" y="141"/>
                  </a:cubicBezTo>
                  <a:cubicBezTo>
                    <a:pt x="79" y="145"/>
                    <a:pt x="69" y="147"/>
                    <a:pt x="58" y="147"/>
                  </a:cubicBezTo>
                  <a:cubicBezTo>
                    <a:pt x="41" y="147"/>
                    <a:pt x="26" y="141"/>
                    <a:pt x="16" y="129"/>
                  </a:cubicBezTo>
                  <a:cubicBezTo>
                    <a:pt x="5" y="116"/>
                    <a:pt x="0" y="99"/>
                    <a:pt x="0" y="78"/>
                  </a:cubicBezTo>
                  <a:cubicBezTo>
                    <a:pt x="0" y="54"/>
                    <a:pt x="6" y="35"/>
                    <a:pt x="17" y="21"/>
                  </a:cubicBezTo>
                  <a:cubicBezTo>
                    <a:pt x="29" y="7"/>
                    <a:pt x="45" y="0"/>
                    <a:pt x="64" y="0"/>
                  </a:cubicBezTo>
                  <a:cubicBezTo>
                    <a:pt x="82" y="0"/>
                    <a:pt x="95" y="7"/>
                    <a:pt x="104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37" y="3"/>
                    <a:pt x="137" y="3"/>
                    <a:pt x="137" y="3"/>
                  </a:cubicBezTo>
                  <a:lnTo>
                    <a:pt x="137" y="131"/>
                  </a:lnTo>
                  <a:close/>
                  <a:moveTo>
                    <a:pt x="105" y="62"/>
                  </a:moveTo>
                  <a:cubicBezTo>
                    <a:pt x="105" y="52"/>
                    <a:pt x="102" y="43"/>
                    <a:pt x="95" y="36"/>
                  </a:cubicBezTo>
                  <a:cubicBezTo>
                    <a:pt x="89" y="29"/>
                    <a:pt x="80" y="26"/>
                    <a:pt x="71" y="26"/>
                  </a:cubicBezTo>
                  <a:cubicBezTo>
                    <a:pt x="59" y="26"/>
                    <a:pt x="49" y="30"/>
                    <a:pt x="43" y="39"/>
                  </a:cubicBezTo>
                  <a:cubicBezTo>
                    <a:pt x="36" y="48"/>
                    <a:pt x="33" y="60"/>
                    <a:pt x="33" y="77"/>
                  </a:cubicBezTo>
                  <a:cubicBezTo>
                    <a:pt x="33" y="91"/>
                    <a:pt x="36" y="101"/>
                    <a:pt x="43" y="109"/>
                  </a:cubicBezTo>
                  <a:cubicBezTo>
                    <a:pt x="49" y="117"/>
                    <a:pt x="58" y="121"/>
                    <a:pt x="68" y="121"/>
                  </a:cubicBezTo>
                  <a:cubicBezTo>
                    <a:pt x="79" y="121"/>
                    <a:pt x="88" y="117"/>
                    <a:pt x="95" y="109"/>
                  </a:cubicBezTo>
                  <a:cubicBezTo>
                    <a:pt x="102" y="101"/>
                    <a:pt x="105" y="91"/>
                    <a:pt x="105" y="78"/>
                  </a:cubicBezTo>
                  <a:lnTo>
                    <a:pt x="105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4" name="Freeform 44"/>
            <p:cNvSpPr>
              <a:spLocks/>
            </p:cNvSpPr>
            <p:nvPr userDrawn="1"/>
          </p:nvSpPr>
          <p:spPr bwMode="auto">
            <a:xfrm>
              <a:off x="3795713" y="2058988"/>
              <a:ext cx="198438" cy="239713"/>
            </a:xfrm>
            <a:custGeom>
              <a:avLst/>
              <a:gdLst>
                <a:gd name="T0" fmla="*/ 73 w 123"/>
                <a:gd name="T1" fmla="*/ 95 h 149"/>
                <a:gd name="T2" fmla="*/ 73 w 123"/>
                <a:gd name="T3" fmla="*/ 149 h 149"/>
                <a:gd name="T4" fmla="*/ 48 w 123"/>
                <a:gd name="T5" fmla="*/ 149 h 149"/>
                <a:gd name="T6" fmla="*/ 48 w 123"/>
                <a:gd name="T7" fmla="*/ 95 h 149"/>
                <a:gd name="T8" fmla="*/ 0 w 123"/>
                <a:gd name="T9" fmla="*/ 0 h 149"/>
                <a:gd name="T10" fmla="*/ 28 w 123"/>
                <a:gd name="T11" fmla="*/ 0 h 149"/>
                <a:gd name="T12" fmla="*/ 58 w 123"/>
                <a:gd name="T13" fmla="*/ 62 h 149"/>
                <a:gd name="T14" fmla="*/ 60 w 123"/>
                <a:gd name="T15" fmla="*/ 67 h 149"/>
                <a:gd name="T16" fmla="*/ 62 w 123"/>
                <a:gd name="T17" fmla="*/ 72 h 149"/>
                <a:gd name="T18" fmla="*/ 62 w 123"/>
                <a:gd name="T19" fmla="*/ 72 h 149"/>
                <a:gd name="T20" fmla="*/ 65 w 123"/>
                <a:gd name="T21" fmla="*/ 62 h 149"/>
                <a:gd name="T22" fmla="*/ 96 w 123"/>
                <a:gd name="T23" fmla="*/ 0 h 149"/>
                <a:gd name="T24" fmla="*/ 123 w 123"/>
                <a:gd name="T25" fmla="*/ 0 h 149"/>
                <a:gd name="T26" fmla="*/ 73 w 123"/>
                <a:gd name="T27" fmla="*/ 9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49">
                  <a:moveTo>
                    <a:pt x="73" y="95"/>
                  </a:moveTo>
                  <a:cubicBezTo>
                    <a:pt x="73" y="149"/>
                    <a:pt x="73" y="149"/>
                    <a:pt x="7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9" y="64"/>
                    <a:pt x="60" y="66"/>
                    <a:pt x="60" y="67"/>
                  </a:cubicBezTo>
                  <a:cubicBezTo>
                    <a:pt x="61" y="69"/>
                    <a:pt x="61" y="70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68"/>
                    <a:pt x="64" y="65"/>
                    <a:pt x="65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73" y="95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5" name="Freeform 45"/>
            <p:cNvSpPr>
              <a:spLocks noEditPoints="1"/>
            </p:cNvSpPr>
            <p:nvPr userDrawn="1"/>
          </p:nvSpPr>
          <p:spPr bwMode="auto">
            <a:xfrm>
              <a:off x="3967163" y="2122488"/>
              <a:ext cx="177800" cy="180975"/>
            </a:xfrm>
            <a:custGeom>
              <a:avLst/>
              <a:gdLst>
                <a:gd name="T0" fmla="*/ 110 w 110"/>
                <a:gd name="T1" fmla="*/ 55 h 112"/>
                <a:gd name="T2" fmla="*/ 95 w 110"/>
                <a:gd name="T3" fmla="*/ 96 h 112"/>
                <a:gd name="T4" fmla="*/ 54 w 110"/>
                <a:gd name="T5" fmla="*/ 112 h 112"/>
                <a:gd name="T6" fmla="*/ 15 w 110"/>
                <a:gd name="T7" fmla="*/ 97 h 112"/>
                <a:gd name="T8" fmla="*/ 0 w 110"/>
                <a:gd name="T9" fmla="*/ 57 h 112"/>
                <a:gd name="T10" fmla="*/ 15 w 110"/>
                <a:gd name="T11" fmla="*/ 15 h 112"/>
                <a:gd name="T12" fmla="*/ 56 w 110"/>
                <a:gd name="T13" fmla="*/ 0 h 112"/>
                <a:gd name="T14" fmla="*/ 96 w 110"/>
                <a:gd name="T15" fmla="*/ 14 h 112"/>
                <a:gd name="T16" fmla="*/ 110 w 110"/>
                <a:gd name="T17" fmla="*/ 55 h 112"/>
                <a:gd name="T18" fmla="*/ 85 w 110"/>
                <a:gd name="T19" fmla="*/ 55 h 112"/>
                <a:gd name="T20" fmla="*/ 77 w 110"/>
                <a:gd name="T21" fmla="*/ 29 h 112"/>
                <a:gd name="T22" fmla="*/ 55 w 110"/>
                <a:gd name="T23" fmla="*/ 19 h 112"/>
                <a:gd name="T24" fmla="*/ 33 w 110"/>
                <a:gd name="T25" fmla="*/ 29 h 112"/>
                <a:gd name="T26" fmla="*/ 25 w 110"/>
                <a:gd name="T27" fmla="*/ 56 h 112"/>
                <a:gd name="T28" fmla="*/ 33 w 110"/>
                <a:gd name="T29" fmla="*/ 82 h 112"/>
                <a:gd name="T30" fmla="*/ 55 w 110"/>
                <a:gd name="T31" fmla="*/ 92 h 112"/>
                <a:gd name="T32" fmla="*/ 77 w 110"/>
                <a:gd name="T33" fmla="*/ 83 h 112"/>
                <a:gd name="T34" fmla="*/ 85 w 110"/>
                <a:gd name="T35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12">
                  <a:moveTo>
                    <a:pt x="110" y="55"/>
                  </a:moveTo>
                  <a:cubicBezTo>
                    <a:pt x="110" y="72"/>
                    <a:pt x="105" y="86"/>
                    <a:pt x="95" y="96"/>
                  </a:cubicBezTo>
                  <a:cubicBezTo>
                    <a:pt x="85" y="106"/>
                    <a:pt x="71" y="112"/>
                    <a:pt x="54" y="112"/>
                  </a:cubicBezTo>
                  <a:cubicBezTo>
                    <a:pt x="37" y="112"/>
                    <a:pt x="24" y="107"/>
                    <a:pt x="15" y="97"/>
                  </a:cubicBezTo>
                  <a:cubicBezTo>
                    <a:pt x="5" y="87"/>
                    <a:pt x="0" y="74"/>
                    <a:pt x="0" y="57"/>
                  </a:cubicBezTo>
                  <a:cubicBezTo>
                    <a:pt x="0" y="39"/>
                    <a:pt x="5" y="25"/>
                    <a:pt x="15" y="15"/>
                  </a:cubicBezTo>
                  <a:cubicBezTo>
                    <a:pt x="25" y="5"/>
                    <a:pt x="39" y="0"/>
                    <a:pt x="56" y="0"/>
                  </a:cubicBezTo>
                  <a:cubicBezTo>
                    <a:pt x="73" y="0"/>
                    <a:pt x="86" y="5"/>
                    <a:pt x="96" y="14"/>
                  </a:cubicBezTo>
                  <a:cubicBezTo>
                    <a:pt x="105" y="24"/>
                    <a:pt x="110" y="38"/>
                    <a:pt x="110" y="55"/>
                  </a:cubicBezTo>
                  <a:close/>
                  <a:moveTo>
                    <a:pt x="85" y="55"/>
                  </a:moveTo>
                  <a:cubicBezTo>
                    <a:pt x="85" y="44"/>
                    <a:pt x="82" y="35"/>
                    <a:pt x="77" y="29"/>
                  </a:cubicBezTo>
                  <a:cubicBezTo>
                    <a:pt x="71" y="22"/>
                    <a:pt x="64" y="19"/>
                    <a:pt x="55" y="19"/>
                  </a:cubicBezTo>
                  <a:cubicBezTo>
                    <a:pt x="46" y="19"/>
                    <a:pt x="38" y="23"/>
                    <a:pt x="33" y="29"/>
                  </a:cubicBezTo>
                  <a:cubicBezTo>
                    <a:pt x="28" y="35"/>
                    <a:pt x="25" y="44"/>
                    <a:pt x="25" y="56"/>
                  </a:cubicBezTo>
                  <a:cubicBezTo>
                    <a:pt x="25" y="67"/>
                    <a:pt x="28" y="76"/>
                    <a:pt x="33" y="82"/>
                  </a:cubicBezTo>
                  <a:cubicBezTo>
                    <a:pt x="38" y="89"/>
                    <a:pt x="46" y="92"/>
                    <a:pt x="55" y="92"/>
                  </a:cubicBezTo>
                  <a:cubicBezTo>
                    <a:pt x="65" y="92"/>
                    <a:pt x="72" y="89"/>
                    <a:pt x="77" y="83"/>
                  </a:cubicBezTo>
                  <a:cubicBezTo>
                    <a:pt x="82" y="76"/>
                    <a:pt x="85" y="67"/>
                    <a:pt x="85" y="55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6" name="Freeform 46"/>
            <p:cNvSpPr>
              <a:spLocks/>
            </p:cNvSpPr>
            <p:nvPr userDrawn="1"/>
          </p:nvSpPr>
          <p:spPr bwMode="auto">
            <a:xfrm>
              <a:off x="4181475" y="2125663"/>
              <a:ext cx="153988" cy="177800"/>
            </a:xfrm>
            <a:custGeom>
              <a:avLst/>
              <a:gdLst>
                <a:gd name="T0" fmla="*/ 71 w 95"/>
                <a:gd name="T1" fmla="*/ 107 h 110"/>
                <a:gd name="T2" fmla="*/ 71 w 95"/>
                <a:gd name="T3" fmla="*/ 91 h 110"/>
                <a:gd name="T4" fmla="*/ 70 w 95"/>
                <a:gd name="T5" fmla="*/ 91 h 110"/>
                <a:gd name="T6" fmla="*/ 57 w 95"/>
                <a:gd name="T7" fmla="*/ 105 h 110"/>
                <a:gd name="T8" fmla="*/ 38 w 95"/>
                <a:gd name="T9" fmla="*/ 110 h 110"/>
                <a:gd name="T10" fmla="*/ 10 w 95"/>
                <a:gd name="T11" fmla="*/ 98 h 110"/>
                <a:gd name="T12" fmla="*/ 0 w 95"/>
                <a:gd name="T13" fmla="*/ 65 h 110"/>
                <a:gd name="T14" fmla="*/ 0 w 95"/>
                <a:gd name="T15" fmla="*/ 0 h 110"/>
                <a:gd name="T16" fmla="*/ 24 w 95"/>
                <a:gd name="T17" fmla="*/ 0 h 110"/>
                <a:gd name="T18" fmla="*/ 24 w 95"/>
                <a:gd name="T19" fmla="*/ 62 h 110"/>
                <a:gd name="T20" fmla="*/ 46 w 95"/>
                <a:gd name="T21" fmla="*/ 90 h 110"/>
                <a:gd name="T22" fmla="*/ 64 w 95"/>
                <a:gd name="T23" fmla="*/ 82 h 110"/>
                <a:gd name="T24" fmla="*/ 71 w 95"/>
                <a:gd name="T25" fmla="*/ 62 h 110"/>
                <a:gd name="T26" fmla="*/ 71 w 95"/>
                <a:gd name="T27" fmla="*/ 0 h 110"/>
                <a:gd name="T28" fmla="*/ 95 w 95"/>
                <a:gd name="T29" fmla="*/ 0 h 110"/>
                <a:gd name="T30" fmla="*/ 95 w 95"/>
                <a:gd name="T31" fmla="*/ 107 h 110"/>
                <a:gd name="T32" fmla="*/ 71 w 95"/>
                <a:gd name="T33" fmla="*/ 10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10">
                  <a:moveTo>
                    <a:pt x="71" y="107"/>
                  </a:moveTo>
                  <a:cubicBezTo>
                    <a:pt x="71" y="91"/>
                    <a:pt x="71" y="91"/>
                    <a:pt x="71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7" y="97"/>
                    <a:pt x="62" y="101"/>
                    <a:pt x="57" y="105"/>
                  </a:cubicBezTo>
                  <a:cubicBezTo>
                    <a:pt x="51" y="108"/>
                    <a:pt x="45" y="110"/>
                    <a:pt x="38" y="110"/>
                  </a:cubicBezTo>
                  <a:cubicBezTo>
                    <a:pt x="26" y="110"/>
                    <a:pt x="16" y="106"/>
                    <a:pt x="10" y="98"/>
                  </a:cubicBezTo>
                  <a:cubicBezTo>
                    <a:pt x="3" y="91"/>
                    <a:pt x="0" y="80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81"/>
                    <a:pt x="32" y="90"/>
                    <a:pt x="46" y="90"/>
                  </a:cubicBezTo>
                  <a:cubicBezTo>
                    <a:pt x="54" y="90"/>
                    <a:pt x="59" y="87"/>
                    <a:pt x="64" y="82"/>
                  </a:cubicBezTo>
                  <a:cubicBezTo>
                    <a:pt x="68" y="77"/>
                    <a:pt x="71" y="70"/>
                    <a:pt x="71" y="6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107"/>
                    <a:pt x="95" y="107"/>
                    <a:pt x="95" y="107"/>
                  </a:cubicBezTo>
                  <a:lnTo>
                    <a:pt x="71" y="107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7" name="Freeform 47"/>
            <p:cNvSpPr>
              <a:spLocks/>
            </p:cNvSpPr>
            <p:nvPr userDrawn="1"/>
          </p:nvSpPr>
          <p:spPr bwMode="auto">
            <a:xfrm>
              <a:off x="4379913" y="2122488"/>
              <a:ext cx="100013" cy="176213"/>
            </a:xfrm>
            <a:custGeom>
              <a:avLst/>
              <a:gdLst>
                <a:gd name="T0" fmla="*/ 62 w 62"/>
                <a:gd name="T1" fmla="*/ 26 h 109"/>
                <a:gd name="T2" fmla="*/ 55 w 62"/>
                <a:gd name="T3" fmla="*/ 23 h 109"/>
                <a:gd name="T4" fmla="*/ 48 w 62"/>
                <a:gd name="T5" fmla="*/ 22 h 109"/>
                <a:gd name="T6" fmla="*/ 31 w 62"/>
                <a:gd name="T7" fmla="*/ 31 h 109"/>
                <a:gd name="T8" fmla="*/ 24 w 62"/>
                <a:gd name="T9" fmla="*/ 54 h 109"/>
                <a:gd name="T10" fmla="*/ 24 w 62"/>
                <a:gd name="T11" fmla="*/ 109 h 109"/>
                <a:gd name="T12" fmla="*/ 0 w 62"/>
                <a:gd name="T13" fmla="*/ 109 h 109"/>
                <a:gd name="T14" fmla="*/ 0 w 62"/>
                <a:gd name="T15" fmla="*/ 2 h 109"/>
                <a:gd name="T16" fmla="*/ 24 w 62"/>
                <a:gd name="T17" fmla="*/ 2 h 109"/>
                <a:gd name="T18" fmla="*/ 24 w 62"/>
                <a:gd name="T19" fmla="*/ 23 h 109"/>
                <a:gd name="T20" fmla="*/ 25 w 62"/>
                <a:gd name="T21" fmla="*/ 23 h 109"/>
                <a:gd name="T22" fmla="*/ 35 w 62"/>
                <a:gd name="T23" fmla="*/ 6 h 109"/>
                <a:gd name="T24" fmla="*/ 52 w 62"/>
                <a:gd name="T25" fmla="*/ 0 h 109"/>
                <a:gd name="T26" fmla="*/ 62 w 62"/>
                <a:gd name="T27" fmla="*/ 2 h 109"/>
                <a:gd name="T28" fmla="*/ 62 w 62"/>
                <a:gd name="T29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09">
                  <a:moveTo>
                    <a:pt x="62" y="26"/>
                  </a:moveTo>
                  <a:cubicBezTo>
                    <a:pt x="60" y="25"/>
                    <a:pt x="58" y="24"/>
                    <a:pt x="55" y="23"/>
                  </a:cubicBezTo>
                  <a:cubicBezTo>
                    <a:pt x="53" y="22"/>
                    <a:pt x="50" y="22"/>
                    <a:pt x="48" y="22"/>
                  </a:cubicBezTo>
                  <a:cubicBezTo>
                    <a:pt x="41" y="22"/>
                    <a:pt x="35" y="25"/>
                    <a:pt x="31" y="31"/>
                  </a:cubicBezTo>
                  <a:cubicBezTo>
                    <a:pt x="26" y="37"/>
                    <a:pt x="24" y="45"/>
                    <a:pt x="24" y="54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7" y="16"/>
                    <a:pt x="31" y="10"/>
                    <a:pt x="35" y="6"/>
                  </a:cubicBezTo>
                  <a:cubicBezTo>
                    <a:pt x="40" y="2"/>
                    <a:pt x="46" y="0"/>
                    <a:pt x="52" y="0"/>
                  </a:cubicBezTo>
                  <a:cubicBezTo>
                    <a:pt x="56" y="0"/>
                    <a:pt x="59" y="1"/>
                    <a:pt x="62" y="2"/>
                  </a:cubicBezTo>
                  <a:lnTo>
                    <a:pt x="62" y="26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18" name="Group 117"/>
          <p:cNvGrpSpPr/>
          <p:nvPr userDrawn="1"/>
        </p:nvGrpSpPr>
        <p:grpSpPr>
          <a:xfrm>
            <a:off x="1404553" y="2845307"/>
            <a:ext cx="3219971" cy="336207"/>
            <a:chOff x="1500188" y="2508251"/>
            <a:chExt cx="3284538" cy="342900"/>
          </a:xfrm>
        </p:grpSpPr>
        <p:sp>
          <p:nvSpPr>
            <p:cNvPr id="119" name="Freeform 48"/>
            <p:cNvSpPr>
              <a:spLocks noEditPoints="1"/>
            </p:cNvSpPr>
            <p:nvPr userDrawn="1"/>
          </p:nvSpPr>
          <p:spPr bwMode="auto">
            <a:xfrm>
              <a:off x="1500188" y="2527301"/>
              <a:ext cx="268288" cy="317500"/>
            </a:xfrm>
            <a:custGeom>
              <a:avLst/>
              <a:gdLst>
                <a:gd name="T0" fmla="*/ 166 w 166"/>
                <a:gd name="T1" fmla="*/ 96 h 196"/>
                <a:gd name="T2" fmla="*/ 153 w 166"/>
                <a:gd name="T3" fmla="*/ 149 h 196"/>
                <a:gd name="T4" fmla="*/ 115 w 166"/>
                <a:gd name="T5" fmla="*/ 184 h 196"/>
                <a:gd name="T6" fmla="*/ 59 w 166"/>
                <a:gd name="T7" fmla="*/ 196 h 196"/>
                <a:gd name="T8" fmla="*/ 0 w 166"/>
                <a:gd name="T9" fmla="*/ 196 h 196"/>
                <a:gd name="T10" fmla="*/ 0 w 166"/>
                <a:gd name="T11" fmla="*/ 0 h 196"/>
                <a:gd name="T12" fmla="*/ 61 w 166"/>
                <a:gd name="T13" fmla="*/ 0 h 196"/>
                <a:gd name="T14" fmla="*/ 140 w 166"/>
                <a:gd name="T15" fmla="*/ 24 h 196"/>
                <a:gd name="T16" fmla="*/ 166 w 166"/>
                <a:gd name="T17" fmla="*/ 96 h 196"/>
                <a:gd name="T18" fmla="*/ 131 w 166"/>
                <a:gd name="T19" fmla="*/ 96 h 196"/>
                <a:gd name="T20" fmla="*/ 113 w 166"/>
                <a:gd name="T21" fmla="*/ 45 h 196"/>
                <a:gd name="T22" fmla="*/ 59 w 166"/>
                <a:gd name="T23" fmla="*/ 28 h 196"/>
                <a:gd name="T24" fmla="*/ 32 w 166"/>
                <a:gd name="T25" fmla="*/ 28 h 196"/>
                <a:gd name="T26" fmla="*/ 32 w 166"/>
                <a:gd name="T27" fmla="*/ 168 h 196"/>
                <a:gd name="T28" fmla="*/ 59 w 166"/>
                <a:gd name="T29" fmla="*/ 168 h 196"/>
                <a:gd name="T30" fmla="*/ 112 w 166"/>
                <a:gd name="T31" fmla="*/ 149 h 196"/>
                <a:gd name="T32" fmla="*/ 131 w 166"/>
                <a:gd name="T33" fmla="*/ 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96">
                  <a:moveTo>
                    <a:pt x="166" y="96"/>
                  </a:moveTo>
                  <a:cubicBezTo>
                    <a:pt x="166" y="116"/>
                    <a:pt x="162" y="133"/>
                    <a:pt x="153" y="149"/>
                  </a:cubicBezTo>
                  <a:cubicBezTo>
                    <a:pt x="144" y="164"/>
                    <a:pt x="132" y="176"/>
                    <a:pt x="115" y="184"/>
                  </a:cubicBezTo>
                  <a:cubicBezTo>
                    <a:pt x="99" y="192"/>
                    <a:pt x="80" y="196"/>
                    <a:pt x="59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6" y="0"/>
                    <a:pt x="122" y="8"/>
                    <a:pt x="140" y="24"/>
                  </a:cubicBezTo>
                  <a:cubicBezTo>
                    <a:pt x="157" y="40"/>
                    <a:pt x="166" y="64"/>
                    <a:pt x="166" y="96"/>
                  </a:cubicBezTo>
                  <a:close/>
                  <a:moveTo>
                    <a:pt x="131" y="96"/>
                  </a:moveTo>
                  <a:cubicBezTo>
                    <a:pt x="131" y="74"/>
                    <a:pt x="125" y="57"/>
                    <a:pt x="113" y="45"/>
                  </a:cubicBezTo>
                  <a:cubicBezTo>
                    <a:pt x="100" y="34"/>
                    <a:pt x="82" y="28"/>
                    <a:pt x="59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8"/>
                    <a:pt x="32" y="168"/>
                    <a:pt x="32" y="168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82" y="168"/>
                    <a:pt x="100" y="162"/>
                    <a:pt x="112" y="149"/>
                  </a:cubicBezTo>
                  <a:cubicBezTo>
                    <a:pt x="125" y="136"/>
                    <a:pt x="131" y="119"/>
                    <a:pt x="131" y="96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0" name="Freeform 49"/>
            <p:cNvSpPr>
              <a:spLocks noEditPoints="1"/>
            </p:cNvSpPr>
            <p:nvPr userDrawn="1"/>
          </p:nvSpPr>
          <p:spPr bwMode="auto">
            <a:xfrm>
              <a:off x="1801813" y="2611438"/>
              <a:ext cx="192088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5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2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5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2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6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1" name="Freeform 50"/>
            <p:cNvSpPr>
              <a:spLocks/>
            </p:cNvSpPr>
            <p:nvPr userDrawn="1"/>
          </p:nvSpPr>
          <p:spPr bwMode="auto">
            <a:xfrm>
              <a:off x="2019300" y="2549526"/>
              <a:ext cx="144463" cy="301625"/>
            </a:xfrm>
            <a:custGeom>
              <a:avLst/>
              <a:gdLst>
                <a:gd name="T0" fmla="*/ 89 w 89"/>
                <a:gd name="T1" fmla="*/ 181 h 186"/>
                <a:gd name="T2" fmla="*/ 79 w 89"/>
                <a:gd name="T3" fmla="*/ 184 h 186"/>
                <a:gd name="T4" fmla="*/ 64 w 89"/>
                <a:gd name="T5" fmla="*/ 186 h 186"/>
                <a:gd name="T6" fmla="*/ 23 w 89"/>
                <a:gd name="T7" fmla="*/ 141 h 186"/>
                <a:gd name="T8" fmla="*/ 23 w 89"/>
                <a:gd name="T9" fmla="*/ 67 h 186"/>
                <a:gd name="T10" fmla="*/ 0 w 89"/>
                <a:gd name="T11" fmla="*/ 67 h 186"/>
                <a:gd name="T12" fmla="*/ 0 w 89"/>
                <a:gd name="T13" fmla="*/ 42 h 186"/>
                <a:gd name="T14" fmla="*/ 23 w 89"/>
                <a:gd name="T15" fmla="*/ 42 h 186"/>
                <a:gd name="T16" fmla="*/ 23 w 89"/>
                <a:gd name="T17" fmla="*/ 9 h 186"/>
                <a:gd name="T18" fmla="*/ 55 w 89"/>
                <a:gd name="T19" fmla="*/ 0 h 186"/>
                <a:gd name="T20" fmla="*/ 55 w 89"/>
                <a:gd name="T21" fmla="*/ 42 h 186"/>
                <a:gd name="T22" fmla="*/ 89 w 89"/>
                <a:gd name="T23" fmla="*/ 42 h 186"/>
                <a:gd name="T24" fmla="*/ 89 w 89"/>
                <a:gd name="T25" fmla="*/ 67 h 186"/>
                <a:gd name="T26" fmla="*/ 55 w 89"/>
                <a:gd name="T27" fmla="*/ 67 h 186"/>
                <a:gd name="T28" fmla="*/ 55 w 89"/>
                <a:gd name="T29" fmla="*/ 135 h 186"/>
                <a:gd name="T30" fmla="*/ 60 w 89"/>
                <a:gd name="T31" fmla="*/ 154 h 186"/>
                <a:gd name="T32" fmla="*/ 75 w 89"/>
                <a:gd name="T33" fmla="*/ 160 h 186"/>
                <a:gd name="T34" fmla="*/ 82 w 89"/>
                <a:gd name="T35" fmla="*/ 159 h 186"/>
                <a:gd name="T36" fmla="*/ 89 w 89"/>
                <a:gd name="T37" fmla="*/ 156 h 186"/>
                <a:gd name="T38" fmla="*/ 89 w 89"/>
                <a:gd name="T39" fmla="*/ 18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186">
                  <a:moveTo>
                    <a:pt x="89" y="181"/>
                  </a:moveTo>
                  <a:cubicBezTo>
                    <a:pt x="87" y="182"/>
                    <a:pt x="83" y="183"/>
                    <a:pt x="79" y="184"/>
                  </a:cubicBezTo>
                  <a:cubicBezTo>
                    <a:pt x="74" y="185"/>
                    <a:pt x="69" y="186"/>
                    <a:pt x="64" y="186"/>
                  </a:cubicBezTo>
                  <a:cubicBezTo>
                    <a:pt x="37" y="186"/>
                    <a:pt x="23" y="171"/>
                    <a:pt x="23" y="141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5" y="144"/>
                    <a:pt x="56" y="151"/>
                    <a:pt x="60" y="154"/>
                  </a:cubicBezTo>
                  <a:cubicBezTo>
                    <a:pt x="63" y="158"/>
                    <a:pt x="68" y="160"/>
                    <a:pt x="75" y="160"/>
                  </a:cubicBezTo>
                  <a:cubicBezTo>
                    <a:pt x="77" y="160"/>
                    <a:pt x="79" y="160"/>
                    <a:pt x="82" y="159"/>
                  </a:cubicBezTo>
                  <a:cubicBezTo>
                    <a:pt x="85" y="158"/>
                    <a:pt x="87" y="157"/>
                    <a:pt x="89" y="156"/>
                  </a:cubicBezTo>
                  <a:lnTo>
                    <a:pt x="89" y="181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2" name="Freeform 51"/>
            <p:cNvSpPr>
              <a:spLocks noEditPoints="1"/>
            </p:cNvSpPr>
            <p:nvPr userDrawn="1"/>
          </p:nvSpPr>
          <p:spPr bwMode="auto">
            <a:xfrm>
              <a:off x="2190750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4 w 118"/>
                <a:gd name="T23" fmla="*/ 41 h 148"/>
                <a:gd name="T24" fmla="*/ 14 w 118"/>
                <a:gd name="T25" fmla="*/ 13 h 148"/>
                <a:gd name="T26" fmla="*/ 36 w 118"/>
                <a:gd name="T27" fmla="*/ 4 h 148"/>
                <a:gd name="T28" fmla="*/ 64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7 w 118"/>
                <a:gd name="T51" fmla="*/ 80 h 148"/>
                <a:gd name="T52" fmla="*/ 37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4" y="4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4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8" y="123"/>
                    <a:pt x="54" y="123"/>
                  </a:cubicBezTo>
                  <a:cubicBezTo>
                    <a:pt x="64" y="123"/>
                    <a:pt x="72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47" y="81"/>
                    <a:pt x="40" y="84"/>
                    <a:pt x="37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3" name="Freeform 52"/>
            <p:cNvSpPr>
              <a:spLocks/>
            </p:cNvSpPr>
            <p:nvPr userDrawn="1"/>
          </p:nvSpPr>
          <p:spPr bwMode="auto">
            <a:xfrm>
              <a:off x="2514600" y="2527301"/>
              <a:ext cx="436563" cy="317500"/>
            </a:xfrm>
            <a:custGeom>
              <a:avLst/>
              <a:gdLst>
                <a:gd name="T0" fmla="*/ 215 w 269"/>
                <a:gd name="T1" fmla="*/ 196 h 196"/>
                <a:gd name="T2" fmla="*/ 176 w 269"/>
                <a:gd name="T3" fmla="*/ 196 h 196"/>
                <a:gd name="T4" fmla="*/ 139 w 269"/>
                <a:gd name="T5" fmla="*/ 59 h 196"/>
                <a:gd name="T6" fmla="*/ 136 w 269"/>
                <a:gd name="T7" fmla="*/ 38 h 196"/>
                <a:gd name="T8" fmla="*/ 135 w 269"/>
                <a:gd name="T9" fmla="*/ 38 h 196"/>
                <a:gd name="T10" fmla="*/ 134 w 269"/>
                <a:gd name="T11" fmla="*/ 50 h 196"/>
                <a:gd name="T12" fmla="*/ 132 w 269"/>
                <a:gd name="T13" fmla="*/ 59 h 196"/>
                <a:gd name="T14" fmla="*/ 95 w 269"/>
                <a:gd name="T15" fmla="*/ 196 h 196"/>
                <a:gd name="T16" fmla="*/ 56 w 269"/>
                <a:gd name="T17" fmla="*/ 196 h 196"/>
                <a:gd name="T18" fmla="*/ 0 w 269"/>
                <a:gd name="T19" fmla="*/ 0 h 196"/>
                <a:gd name="T20" fmla="*/ 36 w 269"/>
                <a:gd name="T21" fmla="*/ 0 h 196"/>
                <a:gd name="T22" fmla="*/ 73 w 269"/>
                <a:gd name="T23" fmla="*/ 142 h 196"/>
                <a:gd name="T24" fmla="*/ 76 w 269"/>
                <a:gd name="T25" fmla="*/ 164 h 196"/>
                <a:gd name="T26" fmla="*/ 76 w 269"/>
                <a:gd name="T27" fmla="*/ 164 h 196"/>
                <a:gd name="T28" fmla="*/ 80 w 269"/>
                <a:gd name="T29" fmla="*/ 142 h 196"/>
                <a:gd name="T30" fmla="*/ 120 w 269"/>
                <a:gd name="T31" fmla="*/ 0 h 196"/>
                <a:gd name="T32" fmla="*/ 155 w 269"/>
                <a:gd name="T33" fmla="*/ 0 h 196"/>
                <a:gd name="T34" fmla="*/ 192 w 269"/>
                <a:gd name="T35" fmla="*/ 144 h 196"/>
                <a:gd name="T36" fmla="*/ 195 w 269"/>
                <a:gd name="T37" fmla="*/ 163 h 196"/>
                <a:gd name="T38" fmla="*/ 196 w 269"/>
                <a:gd name="T39" fmla="*/ 163 h 196"/>
                <a:gd name="T40" fmla="*/ 199 w 269"/>
                <a:gd name="T41" fmla="*/ 143 h 196"/>
                <a:gd name="T42" fmla="*/ 234 w 269"/>
                <a:gd name="T43" fmla="*/ 0 h 196"/>
                <a:gd name="T44" fmla="*/ 269 w 269"/>
                <a:gd name="T45" fmla="*/ 0 h 196"/>
                <a:gd name="T46" fmla="*/ 215 w 269"/>
                <a:gd name="T4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196">
                  <a:moveTo>
                    <a:pt x="215" y="196"/>
                  </a:moveTo>
                  <a:cubicBezTo>
                    <a:pt x="176" y="196"/>
                    <a:pt x="176" y="196"/>
                    <a:pt x="176" y="196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37" y="53"/>
                    <a:pt x="136" y="46"/>
                    <a:pt x="136" y="38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35" y="42"/>
                    <a:pt x="134" y="45"/>
                    <a:pt x="134" y="50"/>
                  </a:cubicBezTo>
                  <a:cubicBezTo>
                    <a:pt x="133" y="55"/>
                    <a:pt x="132" y="58"/>
                    <a:pt x="132" y="59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4" y="146"/>
                    <a:pt x="75" y="153"/>
                    <a:pt x="76" y="164"/>
                  </a:cubicBezTo>
                  <a:cubicBezTo>
                    <a:pt x="76" y="164"/>
                    <a:pt x="76" y="164"/>
                    <a:pt x="76" y="164"/>
                  </a:cubicBezTo>
                  <a:cubicBezTo>
                    <a:pt x="77" y="158"/>
                    <a:pt x="78" y="151"/>
                    <a:pt x="80" y="142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94" y="148"/>
                    <a:pt x="195" y="155"/>
                    <a:pt x="195" y="163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196" y="157"/>
                    <a:pt x="197" y="150"/>
                    <a:pt x="199" y="143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69" y="0"/>
                    <a:pt x="269" y="0"/>
                    <a:pt x="269" y="0"/>
                  </a:cubicBezTo>
                  <a:lnTo>
                    <a:pt x="215" y="196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4" name="Freeform 53"/>
            <p:cNvSpPr>
              <a:spLocks noEditPoints="1"/>
            </p:cNvSpPr>
            <p:nvPr userDrawn="1"/>
          </p:nvSpPr>
          <p:spPr bwMode="auto">
            <a:xfrm>
              <a:off x="2955925" y="2611438"/>
              <a:ext cx="190500" cy="239713"/>
            </a:xfrm>
            <a:custGeom>
              <a:avLst/>
              <a:gdLst>
                <a:gd name="T0" fmla="*/ 87 w 118"/>
                <a:gd name="T1" fmla="*/ 144 h 148"/>
                <a:gd name="T2" fmla="*/ 87 w 118"/>
                <a:gd name="T3" fmla="*/ 125 h 148"/>
                <a:gd name="T4" fmla="*/ 86 w 118"/>
                <a:gd name="T5" fmla="*/ 125 h 148"/>
                <a:gd name="T6" fmla="*/ 44 w 118"/>
                <a:gd name="T7" fmla="*/ 148 h 148"/>
                <a:gd name="T8" fmla="*/ 12 w 118"/>
                <a:gd name="T9" fmla="*/ 137 h 148"/>
                <a:gd name="T10" fmla="*/ 0 w 118"/>
                <a:gd name="T11" fmla="*/ 106 h 148"/>
                <a:gd name="T12" fmla="*/ 11 w 118"/>
                <a:gd name="T13" fmla="*/ 74 h 148"/>
                <a:gd name="T14" fmla="*/ 46 w 118"/>
                <a:gd name="T15" fmla="*/ 60 h 148"/>
                <a:gd name="T16" fmla="*/ 87 w 118"/>
                <a:gd name="T17" fmla="*/ 54 h 148"/>
                <a:gd name="T18" fmla="*/ 60 w 118"/>
                <a:gd name="T19" fmla="*/ 25 h 148"/>
                <a:gd name="T20" fmla="*/ 35 w 118"/>
                <a:gd name="T21" fmla="*/ 30 h 148"/>
                <a:gd name="T22" fmla="*/ 13 w 118"/>
                <a:gd name="T23" fmla="*/ 41 h 148"/>
                <a:gd name="T24" fmla="*/ 13 w 118"/>
                <a:gd name="T25" fmla="*/ 13 h 148"/>
                <a:gd name="T26" fmla="*/ 36 w 118"/>
                <a:gd name="T27" fmla="*/ 4 h 148"/>
                <a:gd name="T28" fmla="*/ 63 w 118"/>
                <a:gd name="T29" fmla="*/ 0 h 148"/>
                <a:gd name="T30" fmla="*/ 104 w 118"/>
                <a:gd name="T31" fmla="*/ 14 h 148"/>
                <a:gd name="T32" fmla="*/ 118 w 118"/>
                <a:gd name="T33" fmla="*/ 55 h 148"/>
                <a:gd name="T34" fmla="*/ 118 w 118"/>
                <a:gd name="T35" fmla="*/ 144 h 148"/>
                <a:gd name="T36" fmla="*/ 87 w 118"/>
                <a:gd name="T37" fmla="*/ 144 h 148"/>
                <a:gd name="T38" fmla="*/ 31 w 118"/>
                <a:gd name="T39" fmla="*/ 103 h 148"/>
                <a:gd name="T40" fmla="*/ 38 w 118"/>
                <a:gd name="T41" fmla="*/ 117 h 148"/>
                <a:gd name="T42" fmla="*/ 54 w 118"/>
                <a:gd name="T43" fmla="*/ 123 h 148"/>
                <a:gd name="T44" fmla="*/ 78 w 118"/>
                <a:gd name="T45" fmla="*/ 113 h 148"/>
                <a:gd name="T46" fmla="*/ 87 w 118"/>
                <a:gd name="T47" fmla="*/ 89 h 148"/>
                <a:gd name="T48" fmla="*/ 87 w 118"/>
                <a:gd name="T49" fmla="*/ 76 h 148"/>
                <a:gd name="T50" fmla="*/ 56 w 118"/>
                <a:gd name="T51" fmla="*/ 80 h 148"/>
                <a:gd name="T52" fmla="*/ 36 w 118"/>
                <a:gd name="T53" fmla="*/ 87 h 148"/>
                <a:gd name="T54" fmla="*/ 31 w 118"/>
                <a:gd name="T55" fmla="*/ 10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8" h="148">
                  <a:moveTo>
                    <a:pt x="87" y="144"/>
                  </a:moveTo>
                  <a:cubicBezTo>
                    <a:pt x="87" y="125"/>
                    <a:pt x="87" y="125"/>
                    <a:pt x="87" y="125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76" y="140"/>
                    <a:pt x="62" y="148"/>
                    <a:pt x="44" y="148"/>
                  </a:cubicBezTo>
                  <a:cubicBezTo>
                    <a:pt x="31" y="148"/>
                    <a:pt x="20" y="144"/>
                    <a:pt x="12" y="137"/>
                  </a:cubicBezTo>
                  <a:cubicBezTo>
                    <a:pt x="4" y="129"/>
                    <a:pt x="0" y="119"/>
                    <a:pt x="0" y="106"/>
                  </a:cubicBezTo>
                  <a:cubicBezTo>
                    <a:pt x="0" y="93"/>
                    <a:pt x="4" y="82"/>
                    <a:pt x="11" y="74"/>
                  </a:cubicBezTo>
                  <a:cubicBezTo>
                    <a:pt x="19" y="66"/>
                    <a:pt x="31" y="62"/>
                    <a:pt x="46" y="60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35"/>
                    <a:pt x="78" y="25"/>
                    <a:pt x="60" y="25"/>
                  </a:cubicBezTo>
                  <a:cubicBezTo>
                    <a:pt x="52" y="25"/>
                    <a:pt x="43" y="27"/>
                    <a:pt x="35" y="30"/>
                  </a:cubicBezTo>
                  <a:cubicBezTo>
                    <a:pt x="27" y="32"/>
                    <a:pt x="20" y="36"/>
                    <a:pt x="13" y="41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9" y="10"/>
                    <a:pt x="26" y="7"/>
                    <a:pt x="36" y="4"/>
                  </a:cubicBezTo>
                  <a:cubicBezTo>
                    <a:pt x="46" y="2"/>
                    <a:pt x="55" y="0"/>
                    <a:pt x="63" y="0"/>
                  </a:cubicBezTo>
                  <a:cubicBezTo>
                    <a:pt x="82" y="0"/>
                    <a:pt x="95" y="5"/>
                    <a:pt x="104" y="14"/>
                  </a:cubicBezTo>
                  <a:cubicBezTo>
                    <a:pt x="113" y="24"/>
                    <a:pt x="118" y="37"/>
                    <a:pt x="118" y="55"/>
                  </a:cubicBezTo>
                  <a:cubicBezTo>
                    <a:pt x="118" y="144"/>
                    <a:pt x="118" y="144"/>
                    <a:pt x="118" y="144"/>
                  </a:cubicBezTo>
                  <a:lnTo>
                    <a:pt x="87" y="144"/>
                  </a:lnTo>
                  <a:close/>
                  <a:moveTo>
                    <a:pt x="31" y="103"/>
                  </a:moveTo>
                  <a:cubicBezTo>
                    <a:pt x="31" y="109"/>
                    <a:pt x="33" y="114"/>
                    <a:pt x="38" y="117"/>
                  </a:cubicBezTo>
                  <a:cubicBezTo>
                    <a:pt x="42" y="121"/>
                    <a:pt x="47" y="123"/>
                    <a:pt x="54" y="123"/>
                  </a:cubicBezTo>
                  <a:cubicBezTo>
                    <a:pt x="64" y="123"/>
                    <a:pt x="71" y="120"/>
                    <a:pt x="78" y="113"/>
                  </a:cubicBezTo>
                  <a:cubicBezTo>
                    <a:pt x="84" y="107"/>
                    <a:pt x="87" y="99"/>
                    <a:pt x="87" y="89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47" y="81"/>
                    <a:pt x="40" y="84"/>
                    <a:pt x="36" y="87"/>
                  </a:cubicBezTo>
                  <a:cubicBezTo>
                    <a:pt x="33" y="91"/>
                    <a:pt x="31" y="96"/>
                    <a:pt x="31" y="103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5" name="Freeform 54"/>
            <p:cNvSpPr>
              <a:spLocks/>
            </p:cNvSpPr>
            <p:nvPr userDrawn="1"/>
          </p:nvSpPr>
          <p:spPr bwMode="auto">
            <a:xfrm>
              <a:off x="3205163" y="2613026"/>
              <a:ext cx="130175" cy="231775"/>
            </a:xfrm>
            <a:custGeom>
              <a:avLst/>
              <a:gdLst>
                <a:gd name="T0" fmla="*/ 81 w 81"/>
                <a:gd name="T1" fmla="*/ 34 h 143"/>
                <a:gd name="T2" fmla="*/ 73 w 81"/>
                <a:gd name="T3" fmla="*/ 30 h 143"/>
                <a:gd name="T4" fmla="*/ 63 w 81"/>
                <a:gd name="T5" fmla="*/ 29 h 143"/>
                <a:gd name="T6" fmla="*/ 40 w 81"/>
                <a:gd name="T7" fmla="*/ 41 h 143"/>
                <a:gd name="T8" fmla="*/ 32 w 81"/>
                <a:gd name="T9" fmla="*/ 72 h 143"/>
                <a:gd name="T10" fmla="*/ 32 w 81"/>
                <a:gd name="T11" fmla="*/ 143 h 143"/>
                <a:gd name="T12" fmla="*/ 0 w 81"/>
                <a:gd name="T13" fmla="*/ 143 h 143"/>
                <a:gd name="T14" fmla="*/ 0 w 81"/>
                <a:gd name="T15" fmla="*/ 3 h 143"/>
                <a:gd name="T16" fmla="*/ 32 w 81"/>
                <a:gd name="T17" fmla="*/ 3 h 143"/>
                <a:gd name="T18" fmla="*/ 32 w 81"/>
                <a:gd name="T19" fmla="*/ 30 h 143"/>
                <a:gd name="T20" fmla="*/ 32 w 81"/>
                <a:gd name="T21" fmla="*/ 30 h 143"/>
                <a:gd name="T22" fmla="*/ 47 w 81"/>
                <a:gd name="T23" fmla="*/ 8 h 143"/>
                <a:gd name="T24" fmla="*/ 68 w 81"/>
                <a:gd name="T25" fmla="*/ 0 h 143"/>
                <a:gd name="T26" fmla="*/ 81 w 81"/>
                <a:gd name="T27" fmla="*/ 2 h 143"/>
                <a:gd name="T28" fmla="*/ 81 w 81"/>
                <a:gd name="T29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143">
                  <a:moveTo>
                    <a:pt x="81" y="34"/>
                  </a:moveTo>
                  <a:cubicBezTo>
                    <a:pt x="79" y="33"/>
                    <a:pt x="77" y="31"/>
                    <a:pt x="73" y="30"/>
                  </a:cubicBezTo>
                  <a:cubicBezTo>
                    <a:pt x="69" y="29"/>
                    <a:pt x="66" y="29"/>
                    <a:pt x="63" y="29"/>
                  </a:cubicBezTo>
                  <a:cubicBezTo>
                    <a:pt x="53" y="29"/>
                    <a:pt x="46" y="33"/>
                    <a:pt x="40" y="41"/>
                  </a:cubicBezTo>
                  <a:cubicBezTo>
                    <a:pt x="35" y="49"/>
                    <a:pt x="32" y="59"/>
                    <a:pt x="32" y="72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5" y="21"/>
                    <a:pt x="40" y="13"/>
                    <a:pt x="47" y="8"/>
                  </a:cubicBezTo>
                  <a:cubicBezTo>
                    <a:pt x="53" y="3"/>
                    <a:pt x="60" y="0"/>
                    <a:pt x="68" y="0"/>
                  </a:cubicBezTo>
                  <a:cubicBezTo>
                    <a:pt x="74" y="0"/>
                    <a:pt x="78" y="1"/>
                    <a:pt x="81" y="2"/>
                  </a:cubicBezTo>
                  <a:lnTo>
                    <a:pt x="81" y="34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6" name="Freeform 55"/>
            <p:cNvSpPr>
              <a:spLocks noEditPoints="1"/>
            </p:cNvSpPr>
            <p:nvPr userDrawn="1"/>
          </p:nvSpPr>
          <p:spPr bwMode="auto">
            <a:xfrm>
              <a:off x="3348038" y="2611438"/>
              <a:ext cx="207963" cy="239713"/>
            </a:xfrm>
            <a:custGeom>
              <a:avLst/>
              <a:gdLst>
                <a:gd name="T0" fmla="*/ 32 w 128"/>
                <a:gd name="T1" fmla="*/ 83 h 148"/>
                <a:gd name="T2" fmla="*/ 44 w 128"/>
                <a:gd name="T3" fmla="*/ 113 h 148"/>
                <a:gd name="T4" fmla="*/ 75 w 128"/>
                <a:gd name="T5" fmla="*/ 123 h 148"/>
                <a:gd name="T6" fmla="*/ 97 w 128"/>
                <a:gd name="T7" fmla="*/ 119 h 148"/>
                <a:gd name="T8" fmla="*/ 117 w 128"/>
                <a:gd name="T9" fmla="*/ 109 h 148"/>
                <a:gd name="T10" fmla="*/ 117 w 128"/>
                <a:gd name="T11" fmla="*/ 136 h 148"/>
                <a:gd name="T12" fmla="*/ 95 w 128"/>
                <a:gd name="T13" fmla="*/ 145 h 148"/>
                <a:gd name="T14" fmla="*/ 67 w 128"/>
                <a:gd name="T15" fmla="*/ 148 h 148"/>
                <a:gd name="T16" fmla="*/ 17 w 128"/>
                <a:gd name="T17" fmla="*/ 129 h 148"/>
                <a:gd name="T18" fmla="*/ 0 w 128"/>
                <a:gd name="T19" fmla="*/ 76 h 148"/>
                <a:gd name="T20" fmla="*/ 8 w 128"/>
                <a:gd name="T21" fmla="*/ 36 h 148"/>
                <a:gd name="T22" fmla="*/ 33 w 128"/>
                <a:gd name="T23" fmla="*/ 10 h 148"/>
                <a:gd name="T24" fmla="*/ 67 w 128"/>
                <a:gd name="T25" fmla="*/ 0 h 148"/>
                <a:gd name="T26" fmla="*/ 112 w 128"/>
                <a:gd name="T27" fmla="*/ 18 h 148"/>
                <a:gd name="T28" fmla="*/ 128 w 128"/>
                <a:gd name="T29" fmla="*/ 68 h 148"/>
                <a:gd name="T30" fmla="*/ 128 w 128"/>
                <a:gd name="T31" fmla="*/ 83 h 148"/>
                <a:gd name="T32" fmla="*/ 32 w 128"/>
                <a:gd name="T33" fmla="*/ 83 h 148"/>
                <a:gd name="T34" fmla="*/ 96 w 128"/>
                <a:gd name="T35" fmla="*/ 60 h 148"/>
                <a:gd name="T36" fmla="*/ 89 w 128"/>
                <a:gd name="T37" fmla="*/ 34 h 148"/>
                <a:gd name="T38" fmla="*/ 67 w 128"/>
                <a:gd name="T39" fmla="*/ 25 h 148"/>
                <a:gd name="T40" fmla="*/ 44 w 128"/>
                <a:gd name="T41" fmla="*/ 35 h 148"/>
                <a:gd name="T42" fmla="*/ 32 w 128"/>
                <a:gd name="T43" fmla="*/ 60 h 148"/>
                <a:gd name="T44" fmla="*/ 96 w 128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48">
                  <a:moveTo>
                    <a:pt x="32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1" y="119"/>
                    <a:pt x="61" y="123"/>
                    <a:pt x="75" y="123"/>
                  </a:cubicBezTo>
                  <a:cubicBezTo>
                    <a:pt x="82" y="123"/>
                    <a:pt x="90" y="122"/>
                    <a:pt x="97" y="119"/>
                  </a:cubicBezTo>
                  <a:cubicBezTo>
                    <a:pt x="105" y="116"/>
                    <a:pt x="111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1" y="140"/>
                    <a:pt x="104" y="142"/>
                    <a:pt x="95" y="145"/>
                  </a:cubicBezTo>
                  <a:cubicBezTo>
                    <a:pt x="86" y="147"/>
                    <a:pt x="77" y="148"/>
                    <a:pt x="67" y="148"/>
                  </a:cubicBezTo>
                  <a:cubicBezTo>
                    <a:pt x="45" y="148"/>
                    <a:pt x="29" y="142"/>
                    <a:pt x="17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8" y="36"/>
                  </a:cubicBezTo>
                  <a:cubicBezTo>
                    <a:pt x="14" y="25"/>
                    <a:pt x="22" y="16"/>
                    <a:pt x="33" y="10"/>
                  </a:cubicBezTo>
                  <a:cubicBezTo>
                    <a:pt x="43" y="4"/>
                    <a:pt x="54" y="0"/>
                    <a:pt x="67" y="0"/>
                  </a:cubicBezTo>
                  <a:cubicBezTo>
                    <a:pt x="86" y="0"/>
                    <a:pt x="101" y="6"/>
                    <a:pt x="112" y="18"/>
                  </a:cubicBezTo>
                  <a:cubicBezTo>
                    <a:pt x="123" y="30"/>
                    <a:pt x="128" y="47"/>
                    <a:pt x="128" y="68"/>
                  </a:cubicBezTo>
                  <a:cubicBezTo>
                    <a:pt x="128" y="83"/>
                    <a:pt x="128" y="83"/>
                    <a:pt x="128" y="83"/>
                  </a:cubicBezTo>
                  <a:lnTo>
                    <a:pt x="32" y="83"/>
                  </a:lnTo>
                  <a:close/>
                  <a:moveTo>
                    <a:pt x="96" y="60"/>
                  </a:moveTo>
                  <a:cubicBezTo>
                    <a:pt x="96" y="48"/>
                    <a:pt x="94" y="40"/>
                    <a:pt x="89" y="34"/>
                  </a:cubicBezTo>
                  <a:cubicBezTo>
                    <a:pt x="83" y="28"/>
                    <a:pt x="76" y="25"/>
                    <a:pt x="67" y="25"/>
                  </a:cubicBezTo>
                  <a:cubicBezTo>
                    <a:pt x="58" y="25"/>
                    <a:pt x="50" y="28"/>
                    <a:pt x="44" y="35"/>
                  </a:cubicBezTo>
                  <a:cubicBezTo>
                    <a:pt x="38" y="41"/>
                    <a:pt x="34" y="49"/>
                    <a:pt x="32" y="60"/>
                  </a:cubicBezTo>
                  <a:lnTo>
                    <a:pt x="96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7" name="Freeform 56"/>
            <p:cNvSpPr>
              <a:spLocks/>
            </p:cNvSpPr>
            <p:nvPr userDrawn="1"/>
          </p:nvSpPr>
          <p:spPr bwMode="auto">
            <a:xfrm>
              <a:off x="3605213" y="2508251"/>
              <a:ext cx="201613" cy="336550"/>
            </a:xfrm>
            <a:custGeom>
              <a:avLst/>
              <a:gdLst>
                <a:gd name="T0" fmla="*/ 93 w 125"/>
                <a:gd name="T1" fmla="*/ 208 h 208"/>
                <a:gd name="T2" fmla="*/ 93 w 125"/>
                <a:gd name="T3" fmla="*/ 129 h 208"/>
                <a:gd name="T4" fmla="*/ 86 w 125"/>
                <a:gd name="T5" fmla="*/ 100 h 208"/>
                <a:gd name="T6" fmla="*/ 65 w 125"/>
                <a:gd name="T7" fmla="*/ 90 h 208"/>
                <a:gd name="T8" fmla="*/ 41 w 125"/>
                <a:gd name="T9" fmla="*/ 101 h 208"/>
                <a:gd name="T10" fmla="*/ 32 w 125"/>
                <a:gd name="T11" fmla="*/ 128 h 208"/>
                <a:gd name="T12" fmla="*/ 32 w 125"/>
                <a:gd name="T13" fmla="*/ 208 h 208"/>
                <a:gd name="T14" fmla="*/ 0 w 125"/>
                <a:gd name="T15" fmla="*/ 208 h 208"/>
                <a:gd name="T16" fmla="*/ 0 w 125"/>
                <a:gd name="T17" fmla="*/ 0 h 208"/>
                <a:gd name="T18" fmla="*/ 32 w 125"/>
                <a:gd name="T19" fmla="*/ 0 h 208"/>
                <a:gd name="T20" fmla="*/ 32 w 125"/>
                <a:gd name="T21" fmla="*/ 90 h 208"/>
                <a:gd name="T22" fmla="*/ 33 w 125"/>
                <a:gd name="T23" fmla="*/ 90 h 208"/>
                <a:gd name="T24" fmla="*/ 77 w 125"/>
                <a:gd name="T25" fmla="*/ 64 h 208"/>
                <a:gd name="T26" fmla="*/ 113 w 125"/>
                <a:gd name="T27" fmla="*/ 79 h 208"/>
                <a:gd name="T28" fmla="*/ 125 w 125"/>
                <a:gd name="T29" fmla="*/ 122 h 208"/>
                <a:gd name="T30" fmla="*/ 125 w 125"/>
                <a:gd name="T31" fmla="*/ 208 h 208"/>
                <a:gd name="T32" fmla="*/ 93 w 125"/>
                <a:gd name="T3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208">
                  <a:moveTo>
                    <a:pt x="93" y="208"/>
                  </a:moveTo>
                  <a:cubicBezTo>
                    <a:pt x="93" y="129"/>
                    <a:pt x="93" y="129"/>
                    <a:pt x="93" y="129"/>
                  </a:cubicBezTo>
                  <a:cubicBezTo>
                    <a:pt x="93" y="116"/>
                    <a:pt x="91" y="107"/>
                    <a:pt x="86" y="100"/>
                  </a:cubicBezTo>
                  <a:cubicBezTo>
                    <a:pt x="82" y="94"/>
                    <a:pt x="75" y="90"/>
                    <a:pt x="65" y="90"/>
                  </a:cubicBezTo>
                  <a:cubicBezTo>
                    <a:pt x="56" y="90"/>
                    <a:pt x="48" y="94"/>
                    <a:pt x="41" y="101"/>
                  </a:cubicBezTo>
                  <a:cubicBezTo>
                    <a:pt x="35" y="108"/>
                    <a:pt x="32" y="117"/>
                    <a:pt x="32" y="12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43" y="73"/>
                    <a:pt x="58" y="64"/>
                    <a:pt x="77" y="64"/>
                  </a:cubicBezTo>
                  <a:cubicBezTo>
                    <a:pt x="93" y="64"/>
                    <a:pt x="105" y="69"/>
                    <a:pt x="113" y="79"/>
                  </a:cubicBezTo>
                  <a:cubicBezTo>
                    <a:pt x="121" y="89"/>
                    <a:pt x="125" y="103"/>
                    <a:pt x="125" y="122"/>
                  </a:cubicBezTo>
                  <a:cubicBezTo>
                    <a:pt x="125" y="208"/>
                    <a:pt x="125" y="208"/>
                    <a:pt x="125" y="208"/>
                  </a:cubicBezTo>
                  <a:lnTo>
                    <a:pt x="93" y="208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8" name="Freeform 57"/>
            <p:cNvSpPr>
              <a:spLocks noEditPoints="1"/>
            </p:cNvSpPr>
            <p:nvPr userDrawn="1"/>
          </p:nvSpPr>
          <p:spPr bwMode="auto">
            <a:xfrm>
              <a:off x="3854450" y="2611438"/>
              <a:ext cx="234950" cy="239713"/>
            </a:xfrm>
            <a:custGeom>
              <a:avLst/>
              <a:gdLst>
                <a:gd name="T0" fmla="*/ 145 w 145"/>
                <a:gd name="T1" fmla="*/ 73 h 148"/>
                <a:gd name="T2" fmla="*/ 125 w 145"/>
                <a:gd name="T3" fmla="*/ 127 h 148"/>
                <a:gd name="T4" fmla="*/ 71 w 145"/>
                <a:gd name="T5" fmla="*/ 148 h 148"/>
                <a:gd name="T6" fmla="*/ 19 w 145"/>
                <a:gd name="T7" fmla="*/ 128 h 148"/>
                <a:gd name="T8" fmla="*/ 0 w 145"/>
                <a:gd name="T9" fmla="*/ 76 h 148"/>
                <a:gd name="T10" fmla="*/ 20 w 145"/>
                <a:gd name="T11" fmla="*/ 21 h 148"/>
                <a:gd name="T12" fmla="*/ 75 w 145"/>
                <a:gd name="T13" fmla="*/ 0 h 148"/>
                <a:gd name="T14" fmla="*/ 126 w 145"/>
                <a:gd name="T15" fmla="*/ 20 h 148"/>
                <a:gd name="T16" fmla="*/ 145 w 145"/>
                <a:gd name="T17" fmla="*/ 73 h 148"/>
                <a:gd name="T18" fmla="*/ 112 w 145"/>
                <a:gd name="T19" fmla="*/ 74 h 148"/>
                <a:gd name="T20" fmla="*/ 101 w 145"/>
                <a:gd name="T21" fmla="*/ 38 h 148"/>
                <a:gd name="T22" fmla="*/ 73 w 145"/>
                <a:gd name="T23" fmla="*/ 26 h 148"/>
                <a:gd name="T24" fmla="*/ 44 w 145"/>
                <a:gd name="T25" fmla="*/ 39 h 148"/>
                <a:gd name="T26" fmla="*/ 33 w 145"/>
                <a:gd name="T27" fmla="*/ 75 h 148"/>
                <a:gd name="T28" fmla="*/ 44 w 145"/>
                <a:gd name="T29" fmla="*/ 110 h 148"/>
                <a:gd name="T30" fmla="*/ 73 w 145"/>
                <a:gd name="T31" fmla="*/ 122 h 148"/>
                <a:gd name="T32" fmla="*/ 102 w 145"/>
                <a:gd name="T33" fmla="*/ 110 h 148"/>
                <a:gd name="T34" fmla="*/ 112 w 145"/>
                <a:gd name="T35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148">
                  <a:moveTo>
                    <a:pt x="145" y="73"/>
                  </a:moveTo>
                  <a:cubicBezTo>
                    <a:pt x="145" y="96"/>
                    <a:pt x="138" y="114"/>
                    <a:pt x="125" y="127"/>
                  </a:cubicBezTo>
                  <a:cubicBezTo>
                    <a:pt x="112" y="141"/>
                    <a:pt x="94" y="148"/>
                    <a:pt x="71" y="148"/>
                  </a:cubicBezTo>
                  <a:cubicBezTo>
                    <a:pt x="50" y="148"/>
                    <a:pt x="32" y="141"/>
                    <a:pt x="19" y="128"/>
                  </a:cubicBezTo>
                  <a:cubicBezTo>
                    <a:pt x="7" y="116"/>
                    <a:pt x="0" y="98"/>
                    <a:pt x="0" y="76"/>
                  </a:cubicBezTo>
                  <a:cubicBezTo>
                    <a:pt x="0" y="52"/>
                    <a:pt x="7" y="34"/>
                    <a:pt x="20" y="21"/>
                  </a:cubicBezTo>
                  <a:cubicBezTo>
                    <a:pt x="33" y="7"/>
                    <a:pt x="51" y="0"/>
                    <a:pt x="75" y="0"/>
                  </a:cubicBezTo>
                  <a:cubicBezTo>
                    <a:pt x="97" y="0"/>
                    <a:pt x="114" y="7"/>
                    <a:pt x="126" y="20"/>
                  </a:cubicBezTo>
                  <a:cubicBezTo>
                    <a:pt x="139" y="33"/>
                    <a:pt x="145" y="50"/>
                    <a:pt x="145" y="73"/>
                  </a:cubicBezTo>
                  <a:close/>
                  <a:moveTo>
                    <a:pt x="112" y="74"/>
                  </a:moveTo>
                  <a:cubicBezTo>
                    <a:pt x="112" y="58"/>
                    <a:pt x="108" y="46"/>
                    <a:pt x="101" y="38"/>
                  </a:cubicBezTo>
                  <a:cubicBezTo>
                    <a:pt x="94" y="30"/>
                    <a:pt x="85" y="26"/>
                    <a:pt x="73" y="26"/>
                  </a:cubicBezTo>
                  <a:cubicBezTo>
                    <a:pt x="60" y="26"/>
                    <a:pt x="51" y="31"/>
                    <a:pt x="44" y="39"/>
                  </a:cubicBezTo>
                  <a:cubicBezTo>
                    <a:pt x="37" y="47"/>
                    <a:pt x="33" y="59"/>
                    <a:pt x="33" y="75"/>
                  </a:cubicBezTo>
                  <a:cubicBezTo>
                    <a:pt x="33" y="90"/>
                    <a:pt x="37" y="101"/>
                    <a:pt x="44" y="110"/>
                  </a:cubicBezTo>
                  <a:cubicBezTo>
                    <a:pt x="51" y="118"/>
                    <a:pt x="61" y="122"/>
                    <a:pt x="73" y="122"/>
                  </a:cubicBezTo>
                  <a:cubicBezTo>
                    <a:pt x="86" y="122"/>
                    <a:pt x="95" y="118"/>
                    <a:pt x="102" y="110"/>
                  </a:cubicBezTo>
                  <a:cubicBezTo>
                    <a:pt x="108" y="102"/>
                    <a:pt x="112" y="90"/>
                    <a:pt x="112" y="7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9" name="Freeform 58"/>
            <p:cNvSpPr>
              <a:spLocks/>
            </p:cNvSpPr>
            <p:nvPr userDrawn="1"/>
          </p:nvSpPr>
          <p:spPr bwMode="auto">
            <a:xfrm>
              <a:off x="4135438" y="2617788"/>
              <a:ext cx="203200" cy="233363"/>
            </a:xfrm>
            <a:custGeom>
              <a:avLst/>
              <a:gdLst>
                <a:gd name="T0" fmla="*/ 93 w 125"/>
                <a:gd name="T1" fmla="*/ 140 h 144"/>
                <a:gd name="T2" fmla="*/ 93 w 125"/>
                <a:gd name="T3" fmla="*/ 119 h 144"/>
                <a:gd name="T4" fmla="*/ 93 w 125"/>
                <a:gd name="T5" fmla="*/ 119 h 144"/>
                <a:gd name="T6" fmla="*/ 75 w 125"/>
                <a:gd name="T7" fmla="*/ 137 h 144"/>
                <a:gd name="T8" fmla="*/ 50 w 125"/>
                <a:gd name="T9" fmla="*/ 144 h 144"/>
                <a:gd name="T10" fmla="*/ 13 w 125"/>
                <a:gd name="T11" fmla="*/ 129 h 144"/>
                <a:gd name="T12" fmla="*/ 0 w 125"/>
                <a:gd name="T13" fmla="*/ 85 h 144"/>
                <a:gd name="T14" fmla="*/ 0 w 125"/>
                <a:gd name="T15" fmla="*/ 0 h 144"/>
                <a:gd name="T16" fmla="*/ 32 w 125"/>
                <a:gd name="T17" fmla="*/ 0 h 144"/>
                <a:gd name="T18" fmla="*/ 32 w 125"/>
                <a:gd name="T19" fmla="*/ 81 h 144"/>
                <a:gd name="T20" fmla="*/ 61 w 125"/>
                <a:gd name="T21" fmla="*/ 118 h 144"/>
                <a:gd name="T22" fmla="*/ 85 w 125"/>
                <a:gd name="T23" fmla="*/ 108 h 144"/>
                <a:gd name="T24" fmla="*/ 93 w 125"/>
                <a:gd name="T25" fmla="*/ 81 h 144"/>
                <a:gd name="T26" fmla="*/ 93 w 125"/>
                <a:gd name="T27" fmla="*/ 0 h 144"/>
                <a:gd name="T28" fmla="*/ 125 w 125"/>
                <a:gd name="T29" fmla="*/ 0 h 144"/>
                <a:gd name="T30" fmla="*/ 125 w 125"/>
                <a:gd name="T31" fmla="*/ 140 h 144"/>
                <a:gd name="T32" fmla="*/ 93 w 125"/>
                <a:gd name="T33" fmla="*/ 14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144">
                  <a:moveTo>
                    <a:pt x="93" y="140"/>
                  </a:move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88" y="127"/>
                    <a:pt x="83" y="133"/>
                    <a:pt x="75" y="137"/>
                  </a:cubicBezTo>
                  <a:cubicBezTo>
                    <a:pt x="68" y="142"/>
                    <a:pt x="60" y="144"/>
                    <a:pt x="50" y="144"/>
                  </a:cubicBezTo>
                  <a:cubicBezTo>
                    <a:pt x="34" y="144"/>
                    <a:pt x="21" y="139"/>
                    <a:pt x="13" y="129"/>
                  </a:cubicBezTo>
                  <a:cubicBezTo>
                    <a:pt x="4" y="119"/>
                    <a:pt x="0" y="105"/>
                    <a:pt x="0" y="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106"/>
                    <a:pt x="42" y="118"/>
                    <a:pt x="61" y="118"/>
                  </a:cubicBezTo>
                  <a:cubicBezTo>
                    <a:pt x="71" y="118"/>
                    <a:pt x="79" y="115"/>
                    <a:pt x="85" y="108"/>
                  </a:cubicBezTo>
                  <a:cubicBezTo>
                    <a:pt x="90" y="101"/>
                    <a:pt x="93" y="92"/>
                    <a:pt x="93" y="8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0"/>
                    <a:pt x="125" y="140"/>
                    <a:pt x="125" y="140"/>
                  </a:cubicBezTo>
                  <a:lnTo>
                    <a:pt x="93" y="14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0" name="Freeform 59"/>
            <p:cNvSpPr>
              <a:spLocks/>
            </p:cNvSpPr>
            <p:nvPr userDrawn="1"/>
          </p:nvSpPr>
          <p:spPr bwMode="auto">
            <a:xfrm>
              <a:off x="4392613" y="2611438"/>
              <a:ext cx="150813" cy="239713"/>
            </a:xfrm>
            <a:custGeom>
              <a:avLst/>
              <a:gdLst>
                <a:gd name="T0" fmla="*/ 93 w 93"/>
                <a:gd name="T1" fmla="*/ 104 h 148"/>
                <a:gd name="T2" fmla="*/ 78 w 93"/>
                <a:gd name="T3" fmla="*/ 136 h 148"/>
                <a:gd name="T4" fmla="*/ 37 w 93"/>
                <a:gd name="T5" fmla="*/ 148 h 148"/>
                <a:gd name="T6" fmla="*/ 18 w 93"/>
                <a:gd name="T7" fmla="*/ 146 h 148"/>
                <a:gd name="T8" fmla="*/ 0 w 93"/>
                <a:gd name="T9" fmla="*/ 140 h 148"/>
                <a:gd name="T10" fmla="*/ 0 w 93"/>
                <a:gd name="T11" fmla="*/ 110 h 148"/>
                <a:gd name="T12" fmla="*/ 19 w 93"/>
                <a:gd name="T13" fmla="*/ 120 h 148"/>
                <a:gd name="T14" fmla="*/ 38 w 93"/>
                <a:gd name="T15" fmla="*/ 123 h 148"/>
                <a:gd name="T16" fmla="*/ 61 w 93"/>
                <a:gd name="T17" fmla="*/ 108 h 148"/>
                <a:gd name="T18" fmla="*/ 59 w 93"/>
                <a:gd name="T19" fmla="*/ 99 h 148"/>
                <a:gd name="T20" fmla="*/ 51 w 93"/>
                <a:gd name="T21" fmla="*/ 93 h 148"/>
                <a:gd name="T22" fmla="*/ 34 w 93"/>
                <a:gd name="T23" fmla="*/ 85 h 148"/>
                <a:gd name="T24" fmla="*/ 13 w 93"/>
                <a:gd name="T25" fmla="*/ 73 h 148"/>
                <a:gd name="T26" fmla="*/ 3 w 93"/>
                <a:gd name="T27" fmla="*/ 61 h 148"/>
                <a:gd name="T28" fmla="*/ 0 w 93"/>
                <a:gd name="T29" fmla="*/ 43 h 148"/>
                <a:gd name="T30" fmla="*/ 15 w 93"/>
                <a:gd name="T31" fmla="*/ 12 h 148"/>
                <a:gd name="T32" fmla="*/ 54 w 93"/>
                <a:gd name="T33" fmla="*/ 0 h 148"/>
                <a:gd name="T34" fmla="*/ 70 w 93"/>
                <a:gd name="T35" fmla="*/ 2 h 148"/>
                <a:gd name="T36" fmla="*/ 85 w 93"/>
                <a:gd name="T37" fmla="*/ 6 h 148"/>
                <a:gd name="T38" fmla="*/ 85 w 93"/>
                <a:gd name="T39" fmla="*/ 35 h 148"/>
                <a:gd name="T40" fmla="*/ 70 w 93"/>
                <a:gd name="T41" fmla="*/ 28 h 148"/>
                <a:gd name="T42" fmla="*/ 53 w 93"/>
                <a:gd name="T43" fmla="*/ 25 h 148"/>
                <a:gd name="T44" fmla="*/ 38 w 93"/>
                <a:gd name="T45" fmla="*/ 30 h 148"/>
                <a:gd name="T46" fmla="*/ 32 w 93"/>
                <a:gd name="T47" fmla="*/ 40 h 148"/>
                <a:gd name="T48" fmla="*/ 37 w 93"/>
                <a:gd name="T49" fmla="*/ 52 h 148"/>
                <a:gd name="T50" fmla="*/ 57 w 93"/>
                <a:gd name="T51" fmla="*/ 63 h 148"/>
                <a:gd name="T52" fmla="*/ 85 w 93"/>
                <a:gd name="T53" fmla="*/ 80 h 148"/>
                <a:gd name="T54" fmla="*/ 93 w 93"/>
                <a:gd name="T55" fmla="*/ 10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48">
                  <a:moveTo>
                    <a:pt x="93" y="104"/>
                  </a:moveTo>
                  <a:cubicBezTo>
                    <a:pt x="93" y="117"/>
                    <a:pt x="88" y="128"/>
                    <a:pt x="78" y="136"/>
                  </a:cubicBezTo>
                  <a:cubicBezTo>
                    <a:pt x="68" y="144"/>
                    <a:pt x="54" y="148"/>
                    <a:pt x="37" y="148"/>
                  </a:cubicBezTo>
                  <a:cubicBezTo>
                    <a:pt x="31" y="148"/>
                    <a:pt x="25" y="147"/>
                    <a:pt x="18" y="146"/>
                  </a:cubicBezTo>
                  <a:cubicBezTo>
                    <a:pt x="11" y="144"/>
                    <a:pt x="5" y="142"/>
                    <a:pt x="0" y="14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6" y="114"/>
                    <a:pt x="12" y="117"/>
                    <a:pt x="19" y="120"/>
                  </a:cubicBezTo>
                  <a:cubicBezTo>
                    <a:pt x="26" y="122"/>
                    <a:pt x="33" y="123"/>
                    <a:pt x="38" y="123"/>
                  </a:cubicBezTo>
                  <a:cubicBezTo>
                    <a:pt x="53" y="123"/>
                    <a:pt x="61" y="118"/>
                    <a:pt x="61" y="108"/>
                  </a:cubicBezTo>
                  <a:cubicBezTo>
                    <a:pt x="61" y="104"/>
                    <a:pt x="60" y="102"/>
                    <a:pt x="59" y="99"/>
                  </a:cubicBezTo>
                  <a:cubicBezTo>
                    <a:pt x="57" y="97"/>
                    <a:pt x="55" y="95"/>
                    <a:pt x="51" y="93"/>
                  </a:cubicBezTo>
                  <a:cubicBezTo>
                    <a:pt x="47" y="91"/>
                    <a:pt x="41" y="88"/>
                    <a:pt x="34" y="85"/>
                  </a:cubicBezTo>
                  <a:cubicBezTo>
                    <a:pt x="24" y="81"/>
                    <a:pt x="18" y="77"/>
                    <a:pt x="13" y="73"/>
                  </a:cubicBezTo>
                  <a:cubicBezTo>
                    <a:pt x="9" y="70"/>
                    <a:pt x="5" y="65"/>
                    <a:pt x="3" y="61"/>
                  </a:cubicBezTo>
                  <a:cubicBezTo>
                    <a:pt x="1" y="56"/>
                    <a:pt x="0" y="50"/>
                    <a:pt x="0" y="43"/>
                  </a:cubicBezTo>
                  <a:cubicBezTo>
                    <a:pt x="0" y="31"/>
                    <a:pt x="5" y="20"/>
                    <a:pt x="15" y="12"/>
                  </a:cubicBezTo>
                  <a:cubicBezTo>
                    <a:pt x="25" y="4"/>
                    <a:pt x="38" y="0"/>
                    <a:pt x="54" y="0"/>
                  </a:cubicBezTo>
                  <a:cubicBezTo>
                    <a:pt x="59" y="0"/>
                    <a:pt x="64" y="1"/>
                    <a:pt x="70" y="2"/>
                  </a:cubicBezTo>
                  <a:cubicBezTo>
                    <a:pt x="77" y="3"/>
                    <a:pt x="82" y="5"/>
                    <a:pt x="85" y="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1" y="32"/>
                    <a:pt x="76" y="30"/>
                    <a:pt x="70" y="28"/>
                  </a:cubicBezTo>
                  <a:cubicBezTo>
                    <a:pt x="64" y="26"/>
                    <a:pt x="58" y="25"/>
                    <a:pt x="53" y="25"/>
                  </a:cubicBezTo>
                  <a:cubicBezTo>
                    <a:pt x="46" y="25"/>
                    <a:pt x="41" y="27"/>
                    <a:pt x="38" y="30"/>
                  </a:cubicBezTo>
                  <a:cubicBezTo>
                    <a:pt x="34" y="32"/>
                    <a:pt x="32" y="36"/>
                    <a:pt x="32" y="40"/>
                  </a:cubicBezTo>
                  <a:cubicBezTo>
                    <a:pt x="32" y="45"/>
                    <a:pt x="34" y="49"/>
                    <a:pt x="37" y="52"/>
                  </a:cubicBezTo>
                  <a:cubicBezTo>
                    <a:pt x="39" y="55"/>
                    <a:pt x="46" y="58"/>
                    <a:pt x="57" y="63"/>
                  </a:cubicBezTo>
                  <a:cubicBezTo>
                    <a:pt x="70" y="68"/>
                    <a:pt x="79" y="74"/>
                    <a:pt x="85" y="80"/>
                  </a:cubicBezTo>
                  <a:cubicBezTo>
                    <a:pt x="90" y="87"/>
                    <a:pt x="93" y="95"/>
                    <a:pt x="93" y="104"/>
                  </a:cubicBez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1" name="Freeform 60"/>
            <p:cNvSpPr>
              <a:spLocks noEditPoints="1"/>
            </p:cNvSpPr>
            <p:nvPr userDrawn="1"/>
          </p:nvSpPr>
          <p:spPr bwMode="auto">
            <a:xfrm>
              <a:off x="4576763" y="2611438"/>
              <a:ext cx="207963" cy="239713"/>
            </a:xfrm>
            <a:custGeom>
              <a:avLst/>
              <a:gdLst>
                <a:gd name="T0" fmla="*/ 33 w 129"/>
                <a:gd name="T1" fmla="*/ 83 h 148"/>
                <a:gd name="T2" fmla="*/ 44 w 129"/>
                <a:gd name="T3" fmla="*/ 113 h 148"/>
                <a:gd name="T4" fmla="*/ 75 w 129"/>
                <a:gd name="T5" fmla="*/ 123 h 148"/>
                <a:gd name="T6" fmla="*/ 98 w 129"/>
                <a:gd name="T7" fmla="*/ 119 h 148"/>
                <a:gd name="T8" fmla="*/ 117 w 129"/>
                <a:gd name="T9" fmla="*/ 109 h 148"/>
                <a:gd name="T10" fmla="*/ 117 w 129"/>
                <a:gd name="T11" fmla="*/ 136 h 148"/>
                <a:gd name="T12" fmla="*/ 96 w 129"/>
                <a:gd name="T13" fmla="*/ 145 h 148"/>
                <a:gd name="T14" fmla="*/ 67 w 129"/>
                <a:gd name="T15" fmla="*/ 148 h 148"/>
                <a:gd name="T16" fmla="*/ 18 w 129"/>
                <a:gd name="T17" fmla="*/ 129 h 148"/>
                <a:gd name="T18" fmla="*/ 0 w 129"/>
                <a:gd name="T19" fmla="*/ 76 h 148"/>
                <a:gd name="T20" fmla="*/ 9 w 129"/>
                <a:gd name="T21" fmla="*/ 36 h 148"/>
                <a:gd name="T22" fmla="*/ 33 w 129"/>
                <a:gd name="T23" fmla="*/ 10 h 148"/>
                <a:gd name="T24" fmla="*/ 67 w 129"/>
                <a:gd name="T25" fmla="*/ 0 h 148"/>
                <a:gd name="T26" fmla="*/ 112 w 129"/>
                <a:gd name="T27" fmla="*/ 18 h 148"/>
                <a:gd name="T28" fmla="*/ 129 w 129"/>
                <a:gd name="T29" fmla="*/ 68 h 148"/>
                <a:gd name="T30" fmla="*/ 129 w 129"/>
                <a:gd name="T31" fmla="*/ 83 h 148"/>
                <a:gd name="T32" fmla="*/ 33 w 129"/>
                <a:gd name="T33" fmla="*/ 83 h 148"/>
                <a:gd name="T34" fmla="*/ 97 w 129"/>
                <a:gd name="T35" fmla="*/ 60 h 148"/>
                <a:gd name="T36" fmla="*/ 89 w 129"/>
                <a:gd name="T37" fmla="*/ 34 h 148"/>
                <a:gd name="T38" fmla="*/ 67 w 129"/>
                <a:gd name="T39" fmla="*/ 25 h 148"/>
                <a:gd name="T40" fmla="*/ 45 w 129"/>
                <a:gd name="T41" fmla="*/ 35 h 148"/>
                <a:gd name="T42" fmla="*/ 33 w 129"/>
                <a:gd name="T43" fmla="*/ 60 h 148"/>
                <a:gd name="T44" fmla="*/ 97 w 129"/>
                <a:gd name="T45" fmla="*/ 6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148">
                  <a:moveTo>
                    <a:pt x="33" y="83"/>
                  </a:moveTo>
                  <a:cubicBezTo>
                    <a:pt x="33" y="96"/>
                    <a:pt x="37" y="106"/>
                    <a:pt x="44" y="113"/>
                  </a:cubicBezTo>
                  <a:cubicBezTo>
                    <a:pt x="52" y="119"/>
                    <a:pt x="62" y="123"/>
                    <a:pt x="75" y="123"/>
                  </a:cubicBezTo>
                  <a:cubicBezTo>
                    <a:pt x="83" y="123"/>
                    <a:pt x="91" y="122"/>
                    <a:pt x="98" y="119"/>
                  </a:cubicBezTo>
                  <a:cubicBezTo>
                    <a:pt x="105" y="116"/>
                    <a:pt x="112" y="113"/>
                    <a:pt x="117" y="109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2" y="140"/>
                    <a:pt x="105" y="142"/>
                    <a:pt x="96" y="145"/>
                  </a:cubicBezTo>
                  <a:cubicBezTo>
                    <a:pt x="87" y="147"/>
                    <a:pt x="77" y="148"/>
                    <a:pt x="67" y="148"/>
                  </a:cubicBezTo>
                  <a:cubicBezTo>
                    <a:pt x="46" y="148"/>
                    <a:pt x="30" y="142"/>
                    <a:pt x="18" y="129"/>
                  </a:cubicBezTo>
                  <a:cubicBezTo>
                    <a:pt x="6" y="116"/>
                    <a:pt x="0" y="98"/>
                    <a:pt x="0" y="76"/>
                  </a:cubicBezTo>
                  <a:cubicBezTo>
                    <a:pt x="0" y="61"/>
                    <a:pt x="3" y="47"/>
                    <a:pt x="9" y="36"/>
                  </a:cubicBezTo>
                  <a:cubicBezTo>
                    <a:pt x="15" y="25"/>
                    <a:pt x="23" y="16"/>
                    <a:pt x="33" y="10"/>
                  </a:cubicBezTo>
                  <a:cubicBezTo>
                    <a:pt x="43" y="4"/>
                    <a:pt x="55" y="0"/>
                    <a:pt x="67" y="0"/>
                  </a:cubicBezTo>
                  <a:cubicBezTo>
                    <a:pt x="87" y="0"/>
                    <a:pt x="102" y="6"/>
                    <a:pt x="112" y="18"/>
                  </a:cubicBezTo>
                  <a:cubicBezTo>
                    <a:pt x="123" y="30"/>
                    <a:pt x="129" y="47"/>
                    <a:pt x="129" y="68"/>
                  </a:cubicBezTo>
                  <a:cubicBezTo>
                    <a:pt x="129" y="83"/>
                    <a:pt x="129" y="83"/>
                    <a:pt x="129" y="83"/>
                  </a:cubicBezTo>
                  <a:lnTo>
                    <a:pt x="33" y="83"/>
                  </a:lnTo>
                  <a:close/>
                  <a:moveTo>
                    <a:pt x="97" y="60"/>
                  </a:moveTo>
                  <a:cubicBezTo>
                    <a:pt x="97" y="48"/>
                    <a:pt x="94" y="40"/>
                    <a:pt x="89" y="34"/>
                  </a:cubicBezTo>
                  <a:cubicBezTo>
                    <a:pt x="84" y="28"/>
                    <a:pt x="77" y="25"/>
                    <a:pt x="67" y="25"/>
                  </a:cubicBezTo>
                  <a:cubicBezTo>
                    <a:pt x="59" y="25"/>
                    <a:pt x="51" y="28"/>
                    <a:pt x="45" y="35"/>
                  </a:cubicBezTo>
                  <a:cubicBezTo>
                    <a:pt x="38" y="41"/>
                    <a:pt x="34" y="49"/>
                    <a:pt x="33" y="60"/>
                  </a:cubicBezTo>
                  <a:lnTo>
                    <a:pt x="97" y="6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grpSp>
        <p:nvGrpSpPr>
          <p:cNvPr id="132" name="Group 131"/>
          <p:cNvGrpSpPr/>
          <p:nvPr userDrawn="1"/>
        </p:nvGrpSpPr>
        <p:grpSpPr>
          <a:xfrm>
            <a:off x="4540484" y="888770"/>
            <a:ext cx="4776264" cy="4702229"/>
            <a:chOff x="3657600" y="-6505575"/>
            <a:chExt cx="4872038" cy="4795838"/>
          </a:xfrm>
        </p:grpSpPr>
        <p:sp>
          <p:nvSpPr>
            <p:cNvPr id="133" name="Freeform 78"/>
            <p:cNvSpPr>
              <a:spLocks/>
            </p:cNvSpPr>
            <p:nvPr userDrawn="1"/>
          </p:nvSpPr>
          <p:spPr bwMode="auto">
            <a:xfrm>
              <a:off x="6442075" y="-3392488"/>
              <a:ext cx="1101725" cy="520700"/>
            </a:xfrm>
            <a:custGeom>
              <a:avLst/>
              <a:gdLst>
                <a:gd name="T0" fmla="*/ 0 w 694"/>
                <a:gd name="T1" fmla="*/ 256 h 328"/>
                <a:gd name="T2" fmla="*/ 125 w 694"/>
                <a:gd name="T3" fmla="*/ 328 h 328"/>
                <a:gd name="T4" fmla="*/ 694 w 694"/>
                <a:gd name="T5" fmla="*/ 0 h 328"/>
                <a:gd name="T6" fmla="*/ 694 w 694"/>
                <a:gd name="T7" fmla="*/ 0 h 328"/>
                <a:gd name="T8" fmla="*/ 125 w 694"/>
                <a:gd name="T9" fmla="*/ 328 h 328"/>
                <a:gd name="T10" fmla="*/ 0 w 694"/>
                <a:gd name="T11" fmla="*/ 2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4" h="328">
                  <a:moveTo>
                    <a:pt x="0" y="256"/>
                  </a:moveTo>
                  <a:lnTo>
                    <a:pt x="125" y="328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125" y="328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4" name="Freeform 87"/>
            <p:cNvSpPr>
              <a:spLocks/>
            </p:cNvSpPr>
            <p:nvPr userDrawn="1"/>
          </p:nvSpPr>
          <p:spPr bwMode="auto">
            <a:xfrm>
              <a:off x="5737225" y="-5473700"/>
              <a:ext cx="903288" cy="1560513"/>
            </a:xfrm>
            <a:custGeom>
              <a:avLst/>
              <a:gdLst>
                <a:gd name="T0" fmla="*/ 569 w 569"/>
                <a:gd name="T1" fmla="*/ 983 h 983"/>
                <a:gd name="T2" fmla="*/ 0 w 569"/>
                <a:gd name="T3" fmla="*/ 655 h 983"/>
                <a:gd name="T4" fmla="*/ 0 w 569"/>
                <a:gd name="T5" fmla="*/ 0 h 983"/>
                <a:gd name="T6" fmla="*/ 569 w 569"/>
                <a:gd name="T7" fmla="*/ 329 h 983"/>
                <a:gd name="T8" fmla="*/ 569 w 569"/>
                <a:gd name="T9" fmla="*/ 98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983">
                  <a:moveTo>
                    <a:pt x="569" y="983"/>
                  </a:moveTo>
                  <a:lnTo>
                    <a:pt x="0" y="655"/>
                  </a:lnTo>
                  <a:lnTo>
                    <a:pt x="0" y="0"/>
                  </a:lnTo>
                  <a:lnTo>
                    <a:pt x="569" y="329"/>
                  </a:lnTo>
                  <a:lnTo>
                    <a:pt x="569" y="983"/>
                  </a:lnTo>
                  <a:close/>
                </a:path>
              </a:pathLst>
            </a:custGeom>
            <a:solidFill>
              <a:srgbClr val="CECE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5" name="Freeform 88"/>
            <p:cNvSpPr>
              <a:spLocks/>
            </p:cNvSpPr>
            <p:nvPr userDrawn="1"/>
          </p:nvSpPr>
          <p:spPr bwMode="auto">
            <a:xfrm>
              <a:off x="5299075" y="-4183063"/>
              <a:ext cx="790575" cy="1233488"/>
            </a:xfrm>
            <a:custGeom>
              <a:avLst/>
              <a:gdLst>
                <a:gd name="T0" fmla="*/ 271 w 489"/>
                <a:gd name="T1" fmla="*/ 157 h 763"/>
                <a:gd name="T2" fmla="*/ 0 w 489"/>
                <a:gd name="T3" fmla="*/ 0 h 763"/>
                <a:gd name="T4" fmla="*/ 0 w 489"/>
                <a:gd name="T5" fmla="*/ 641 h 763"/>
                <a:gd name="T6" fmla="*/ 102 w 489"/>
                <a:gd name="T7" fmla="*/ 629 h 763"/>
                <a:gd name="T8" fmla="*/ 423 w 489"/>
                <a:gd name="T9" fmla="*/ 763 h 763"/>
                <a:gd name="T10" fmla="*/ 489 w 489"/>
                <a:gd name="T11" fmla="*/ 615 h 763"/>
                <a:gd name="T12" fmla="*/ 271 w 489"/>
                <a:gd name="T13" fmla="*/ 489 h 763"/>
                <a:gd name="T14" fmla="*/ 271 w 489"/>
                <a:gd name="T15" fmla="*/ 157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763">
                  <a:moveTo>
                    <a:pt x="271" y="15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33" y="633"/>
                    <a:pt x="67" y="629"/>
                    <a:pt x="102" y="629"/>
                  </a:cubicBezTo>
                  <a:cubicBezTo>
                    <a:pt x="229" y="629"/>
                    <a:pt x="341" y="681"/>
                    <a:pt x="423" y="763"/>
                  </a:cubicBezTo>
                  <a:cubicBezTo>
                    <a:pt x="439" y="711"/>
                    <a:pt x="461" y="661"/>
                    <a:pt x="489" y="615"/>
                  </a:cubicBezTo>
                  <a:cubicBezTo>
                    <a:pt x="271" y="489"/>
                    <a:pt x="271" y="489"/>
                    <a:pt x="271" y="489"/>
                  </a:cubicBezTo>
                  <a:lnTo>
                    <a:pt x="271" y="157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6" name="Freeform 97"/>
            <p:cNvSpPr>
              <a:spLocks/>
            </p:cNvSpPr>
            <p:nvPr userDrawn="1"/>
          </p:nvSpPr>
          <p:spPr bwMode="auto">
            <a:xfrm>
              <a:off x="5956300" y="-3586163"/>
              <a:ext cx="57150" cy="228600"/>
            </a:xfrm>
            <a:custGeom>
              <a:avLst/>
              <a:gdLst>
                <a:gd name="T0" fmla="*/ 0 w 36"/>
                <a:gd name="T1" fmla="*/ 144 h 144"/>
                <a:gd name="T2" fmla="*/ 36 w 36"/>
                <a:gd name="T3" fmla="*/ 122 h 144"/>
                <a:gd name="T4" fmla="*/ 36 w 36"/>
                <a:gd name="T5" fmla="*/ 21 h 144"/>
                <a:gd name="T6" fmla="*/ 0 w 36"/>
                <a:gd name="T7" fmla="*/ 0 h 144"/>
                <a:gd name="T8" fmla="*/ 0 w 3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44">
                  <a:moveTo>
                    <a:pt x="0" y="144"/>
                  </a:moveTo>
                  <a:lnTo>
                    <a:pt x="36" y="122"/>
                  </a:lnTo>
                  <a:lnTo>
                    <a:pt x="36" y="21"/>
                  </a:lnTo>
                  <a:lnTo>
                    <a:pt x="0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91A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7" name="Freeform 98"/>
            <p:cNvSpPr>
              <a:spLocks/>
            </p:cNvSpPr>
            <p:nvPr userDrawn="1"/>
          </p:nvSpPr>
          <p:spPr bwMode="auto">
            <a:xfrm>
              <a:off x="5930900" y="-3598863"/>
              <a:ext cx="25400" cy="255588"/>
            </a:xfrm>
            <a:custGeom>
              <a:avLst/>
              <a:gdLst>
                <a:gd name="T0" fmla="*/ 0 w 16"/>
                <a:gd name="T1" fmla="*/ 161 h 161"/>
                <a:gd name="T2" fmla="*/ 16 w 16"/>
                <a:gd name="T3" fmla="*/ 152 h 161"/>
                <a:gd name="T4" fmla="*/ 16 w 16"/>
                <a:gd name="T5" fmla="*/ 8 h 161"/>
                <a:gd name="T6" fmla="*/ 0 w 16"/>
                <a:gd name="T7" fmla="*/ 0 h 161"/>
                <a:gd name="T8" fmla="*/ 0 w 1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1">
                  <a:moveTo>
                    <a:pt x="0" y="161"/>
                  </a:moveTo>
                  <a:lnTo>
                    <a:pt x="16" y="15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4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8" name="Freeform 99"/>
            <p:cNvSpPr>
              <a:spLocks/>
            </p:cNvSpPr>
            <p:nvPr userDrawn="1"/>
          </p:nvSpPr>
          <p:spPr bwMode="auto">
            <a:xfrm>
              <a:off x="5881688" y="-3629025"/>
              <a:ext cx="49213" cy="314325"/>
            </a:xfrm>
            <a:custGeom>
              <a:avLst/>
              <a:gdLst>
                <a:gd name="T0" fmla="*/ 0 w 31"/>
                <a:gd name="T1" fmla="*/ 198 h 198"/>
                <a:gd name="T2" fmla="*/ 31 w 31"/>
                <a:gd name="T3" fmla="*/ 180 h 198"/>
                <a:gd name="T4" fmla="*/ 31 w 31"/>
                <a:gd name="T5" fmla="*/ 19 h 198"/>
                <a:gd name="T6" fmla="*/ 0 w 31"/>
                <a:gd name="T7" fmla="*/ 0 h 198"/>
                <a:gd name="T8" fmla="*/ 0 w 31"/>
                <a:gd name="T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8">
                  <a:moveTo>
                    <a:pt x="0" y="198"/>
                  </a:moveTo>
                  <a:lnTo>
                    <a:pt x="31" y="180"/>
                  </a:lnTo>
                  <a:lnTo>
                    <a:pt x="31" y="19"/>
                  </a:lnTo>
                  <a:lnTo>
                    <a:pt x="0" y="0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rgbClr val="BAD8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9" name="Freeform 100"/>
            <p:cNvSpPr>
              <a:spLocks/>
            </p:cNvSpPr>
            <p:nvPr userDrawn="1"/>
          </p:nvSpPr>
          <p:spPr bwMode="auto">
            <a:xfrm>
              <a:off x="5737225" y="-3632200"/>
              <a:ext cx="144463" cy="320675"/>
            </a:xfrm>
            <a:custGeom>
              <a:avLst/>
              <a:gdLst>
                <a:gd name="T0" fmla="*/ 91 w 91"/>
                <a:gd name="T1" fmla="*/ 2 h 202"/>
                <a:gd name="T2" fmla="*/ 87 w 91"/>
                <a:gd name="T3" fmla="*/ 0 h 202"/>
                <a:gd name="T4" fmla="*/ 0 w 91"/>
                <a:gd name="T5" fmla="*/ 50 h 202"/>
                <a:gd name="T6" fmla="*/ 0 w 91"/>
                <a:gd name="T7" fmla="*/ 151 h 202"/>
                <a:gd name="T8" fmla="*/ 87 w 91"/>
                <a:gd name="T9" fmla="*/ 202 h 202"/>
                <a:gd name="T10" fmla="*/ 91 w 91"/>
                <a:gd name="T11" fmla="*/ 200 h 202"/>
                <a:gd name="T12" fmla="*/ 91 w 91"/>
                <a:gd name="T13" fmla="*/ 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202">
                  <a:moveTo>
                    <a:pt x="91" y="2"/>
                  </a:moveTo>
                  <a:lnTo>
                    <a:pt x="87" y="0"/>
                  </a:lnTo>
                  <a:lnTo>
                    <a:pt x="0" y="50"/>
                  </a:lnTo>
                  <a:lnTo>
                    <a:pt x="0" y="151"/>
                  </a:lnTo>
                  <a:lnTo>
                    <a:pt x="87" y="202"/>
                  </a:lnTo>
                  <a:lnTo>
                    <a:pt x="91" y="200"/>
                  </a:lnTo>
                  <a:lnTo>
                    <a:pt x="91" y="2"/>
                  </a:lnTo>
                  <a:close/>
                </a:path>
              </a:pathLst>
            </a:custGeom>
            <a:solidFill>
              <a:srgbClr val="107C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0" name="Freeform 129"/>
            <p:cNvSpPr>
              <a:spLocks/>
            </p:cNvSpPr>
            <p:nvPr userDrawn="1"/>
          </p:nvSpPr>
          <p:spPr bwMode="auto">
            <a:xfrm>
              <a:off x="6640513" y="-4192588"/>
              <a:ext cx="1343025" cy="1831975"/>
            </a:xfrm>
            <a:custGeom>
              <a:avLst/>
              <a:gdLst>
                <a:gd name="T0" fmla="*/ 0 w 846"/>
                <a:gd name="T1" fmla="*/ 1154 h 1154"/>
                <a:gd name="T2" fmla="*/ 846 w 846"/>
                <a:gd name="T3" fmla="*/ 660 h 1154"/>
                <a:gd name="T4" fmla="*/ 846 w 846"/>
                <a:gd name="T5" fmla="*/ 0 h 1154"/>
                <a:gd name="T6" fmla="*/ 0 w 846"/>
                <a:gd name="T7" fmla="*/ 494 h 1154"/>
                <a:gd name="T8" fmla="*/ 0 w 846"/>
                <a:gd name="T9" fmla="*/ 1154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1154">
                  <a:moveTo>
                    <a:pt x="0" y="1154"/>
                  </a:moveTo>
                  <a:lnTo>
                    <a:pt x="846" y="660"/>
                  </a:lnTo>
                  <a:lnTo>
                    <a:pt x="846" y="0"/>
                  </a:lnTo>
                  <a:lnTo>
                    <a:pt x="0" y="494"/>
                  </a:lnTo>
                  <a:lnTo>
                    <a:pt x="0" y="1154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1" name="Freeform 132"/>
            <p:cNvSpPr>
              <a:spLocks/>
            </p:cNvSpPr>
            <p:nvPr userDrawn="1"/>
          </p:nvSpPr>
          <p:spPr bwMode="auto">
            <a:xfrm>
              <a:off x="5299075" y="-3189288"/>
              <a:ext cx="1341438" cy="823913"/>
            </a:xfrm>
            <a:custGeom>
              <a:avLst/>
              <a:gdLst>
                <a:gd name="T0" fmla="*/ 829 w 829"/>
                <a:gd name="T1" fmla="*/ 196 h 509"/>
                <a:gd name="T2" fmla="*/ 829 w 829"/>
                <a:gd name="T3" fmla="*/ 196 h 509"/>
                <a:gd name="T4" fmla="*/ 489 w 829"/>
                <a:gd name="T5" fmla="*/ 0 h 509"/>
                <a:gd name="T6" fmla="*/ 423 w 829"/>
                <a:gd name="T7" fmla="*/ 148 h 509"/>
                <a:gd name="T8" fmla="*/ 102 w 829"/>
                <a:gd name="T9" fmla="*/ 14 h 509"/>
                <a:gd name="T10" fmla="*/ 0 w 829"/>
                <a:gd name="T11" fmla="*/ 26 h 509"/>
                <a:gd name="T12" fmla="*/ 0 w 829"/>
                <a:gd name="T13" fmla="*/ 31 h 509"/>
                <a:gd name="T14" fmla="*/ 829 w 829"/>
                <a:gd name="T15" fmla="*/ 509 h 509"/>
                <a:gd name="T16" fmla="*/ 829 w 829"/>
                <a:gd name="T17" fmla="*/ 509 h 509"/>
                <a:gd name="T18" fmla="*/ 829 w 829"/>
                <a:gd name="T19" fmla="*/ 19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9" h="509">
                  <a:moveTo>
                    <a:pt x="829" y="196"/>
                  </a:moveTo>
                  <a:cubicBezTo>
                    <a:pt x="829" y="196"/>
                    <a:pt x="829" y="196"/>
                    <a:pt x="829" y="196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61" y="46"/>
                    <a:pt x="439" y="96"/>
                    <a:pt x="423" y="148"/>
                  </a:cubicBezTo>
                  <a:cubicBezTo>
                    <a:pt x="341" y="66"/>
                    <a:pt x="229" y="14"/>
                    <a:pt x="102" y="14"/>
                  </a:cubicBezTo>
                  <a:cubicBezTo>
                    <a:pt x="67" y="14"/>
                    <a:pt x="33" y="18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829" y="509"/>
                    <a:pt x="829" y="509"/>
                    <a:pt x="829" y="509"/>
                  </a:cubicBezTo>
                  <a:cubicBezTo>
                    <a:pt x="829" y="509"/>
                    <a:pt x="829" y="509"/>
                    <a:pt x="829" y="509"/>
                  </a:cubicBezTo>
                  <a:lnTo>
                    <a:pt x="829" y="196"/>
                  </a:lnTo>
                  <a:close/>
                </a:path>
              </a:pathLst>
            </a:custGeom>
            <a:solidFill>
              <a:srgbClr val="A0E6F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2" name="Freeform 133"/>
            <p:cNvSpPr>
              <a:spLocks/>
            </p:cNvSpPr>
            <p:nvPr userDrawn="1"/>
          </p:nvSpPr>
          <p:spPr bwMode="auto">
            <a:xfrm>
              <a:off x="6199188" y="-5461000"/>
              <a:ext cx="885825" cy="509588"/>
            </a:xfrm>
            <a:custGeom>
              <a:avLst/>
              <a:gdLst>
                <a:gd name="T0" fmla="*/ 558 w 558"/>
                <a:gd name="T1" fmla="*/ 161 h 321"/>
                <a:gd name="T2" fmla="*/ 278 w 558"/>
                <a:gd name="T3" fmla="*/ 0 h 321"/>
                <a:gd name="T4" fmla="*/ 0 w 558"/>
                <a:gd name="T5" fmla="*/ 160 h 321"/>
                <a:gd name="T6" fmla="*/ 276 w 558"/>
                <a:gd name="T7" fmla="*/ 320 h 321"/>
                <a:gd name="T8" fmla="*/ 278 w 558"/>
                <a:gd name="T9" fmla="*/ 319 h 321"/>
                <a:gd name="T10" fmla="*/ 282 w 558"/>
                <a:gd name="T11" fmla="*/ 321 h 321"/>
                <a:gd name="T12" fmla="*/ 558 w 558"/>
                <a:gd name="T13" fmla="*/ 16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8" h="321">
                  <a:moveTo>
                    <a:pt x="558" y="161"/>
                  </a:moveTo>
                  <a:lnTo>
                    <a:pt x="278" y="0"/>
                  </a:lnTo>
                  <a:lnTo>
                    <a:pt x="0" y="160"/>
                  </a:lnTo>
                  <a:lnTo>
                    <a:pt x="276" y="320"/>
                  </a:lnTo>
                  <a:lnTo>
                    <a:pt x="278" y="319"/>
                  </a:lnTo>
                  <a:lnTo>
                    <a:pt x="282" y="321"/>
                  </a:lnTo>
                  <a:lnTo>
                    <a:pt x="558" y="161"/>
                  </a:lnTo>
                  <a:close/>
                </a:path>
              </a:pathLst>
            </a:custGeom>
            <a:solidFill>
              <a:srgbClr val="40CD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3" name="Freeform 134"/>
            <p:cNvSpPr>
              <a:spLocks/>
            </p:cNvSpPr>
            <p:nvPr userDrawn="1"/>
          </p:nvSpPr>
          <p:spPr bwMode="auto">
            <a:xfrm>
              <a:off x="5299075" y="-6505575"/>
              <a:ext cx="2684463" cy="3097213"/>
            </a:xfrm>
            <a:custGeom>
              <a:avLst/>
              <a:gdLst>
                <a:gd name="T0" fmla="*/ 1691 w 1691"/>
                <a:gd name="T1" fmla="*/ 488 h 1951"/>
                <a:gd name="T2" fmla="*/ 845 w 1691"/>
                <a:gd name="T3" fmla="*/ 0 h 1951"/>
                <a:gd name="T4" fmla="*/ 0 w 1691"/>
                <a:gd name="T5" fmla="*/ 488 h 1951"/>
                <a:gd name="T6" fmla="*/ 0 w 1691"/>
                <a:gd name="T7" fmla="*/ 1463 h 1951"/>
                <a:gd name="T8" fmla="*/ 845 w 1691"/>
                <a:gd name="T9" fmla="*/ 1951 h 1951"/>
                <a:gd name="T10" fmla="*/ 845 w 1691"/>
                <a:gd name="T11" fmla="*/ 1951 h 1951"/>
                <a:gd name="T12" fmla="*/ 845 w 1691"/>
                <a:gd name="T13" fmla="*/ 1632 h 1951"/>
                <a:gd name="T14" fmla="*/ 845 w 1691"/>
                <a:gd name="T15" fmla="*/ 1632 h 1951"/>
                <a:gd name="T16" fmla="*/ 276 w 1691"/>
                <a:gd name="T17" fmla="*/ 1304 h 1951"/>
                <a:gd name="T18" fmla="*/ 276 w 1691"/>
                <a:gd name="T19" fmla="*/ 647 h 1951"/>
                <a:gd name="T20" fmla="*/ 845 w 1691"/>
                <a:gd name="T21" fmla="*/ 319 h 1951"/>
                <a:gd name="T22" fmla="*/ 1414 w 1691"/>
                <a:gd name="T23" fmla="*/ 647 h 1951"/>
                <a:gd name="T24" fmla="*/ 1414 w 1691"/>
                <a:gd name="T25" fmla="*/ 649 h 1951"/>
                <a:gd name="T26" fmla="*/ 845 w 1691"/>
                <a:gd name="T27" fmla="*/ 982 h 1951"/>
                <a:gd name="T28" fmla="*/ 845 w 1691"/>
                <a:gd name="T29" fmla="*/ 1632 h 1951"/>
                <a:gd name="T30" fmla="*/ 1691 w 1691"/>
                <a:gd name="T31" fmla="*/ 1137 h 1951"/>
                <a:gd name="T32" fmla="*/ 1691 w 1691"/>
                <a:gd name="T33" fmla="*/ 488 h 1951"/>
                <a:gd name="T34" fmla="*/ 1691 w 1691"/>
                <a:gd name="T35" fmla="*/ 488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1" h="1951">
                  <a:moveTo>
                    <a:pt x="1691" y="488"/>
                  </a:moveTo>
                  <a:lnTo>
                    <a:pt x="845" y="0"/>
                  </a:lnTo>
                  <a:lnTo>
                    <a:pt x="0" y="488"/>
                  </a:lnTo>
                  <a:lnTo>
                    <a:pt x="0" y="1463"/>
                  </a:lnTo>
                  <a:lnTo>
                    <a:pt x="845" y="1951"/>
                  </a:lnTo>
                  <a:lnTo>
                    <a:pt x="845" y="1951"/>
                  </a:lnTo>
                  <a:lnTo>
                    <a:pt x="845" y="1632"/>
                  </a:lnTo>
                  <a:lnTo>
                    <a:pt x="845" y="1632"/>
                  </a:lnTo>
                  <a:lnTo>
                    <a:pt x="276" y="1304"/>
                  </a:lnTo>
                  <a:lnTo>
                    <a:pt x="276" y="647"/>
                  </a:lnTo>
                  <a:lnTo>
                    <a:pt x="845" y="319"/>
                  </a:lnTo>
                  <a:lnTo>
                    <a:pt x="1414" y="647"/>
                  </a:lnTo>
                  <a:lnTo>
                    <a:pt x="1414" y="649"/>
                  </a:lnTo>
                  <a:lnTo>
                    <a:pt x="845" y="982"/>
                  </a:lnTo>
                  <a:lnTo>
                    <a:pt x="845" y="1632"/>
                  </a:lnTo>
                  <a:lnTo>
                    <a:pt x="1691" y="1137"/>
                  </a:lnTo>
                  <a:lnTo>
                    <a:pt x="1691" y="488"/>
                  </a:lnTo>
                  <a:lnTo>
                    <a:pt x="1691" y="488"/>
                  </a:lnTo>
                  <a:close/>
                </a:path>
              </a:pathLst>
            </a:custGeom>
            <a:solidFill>
              <a:srgbClr val="00205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4" name="Freeform 135"/>
            <p:cNvSpPr>
              <a:spLocks/>
            </p:cNvSpPr>
            <p:nvPr userDrawn="1"/>
          </p:nvSpPr>
          <p:spPr bwMode="auto">
            <a:xfrm>
              <a:off x="6640513" y="-4712993"/>
              <a:ext cx="1343025" cy="1304630"/>
            </a:xfrm>
            <a:custGeom>
              <a:avLst/>
              <a:gdLst>
                <a:gd name="T0" fmla="*/ 0 w 846"/>
                <a:gd name="T1" fmla="*/ 814 h 814"/>
                <a:gd name="T2" fmla="*/ 0 w 846"/>
                <a:gd name="T3" fmla="*/ 814 h 814"/>
                <a:gd name="T4" fmla="*/ 846 w 846"/>
                <a:gd name="T5" fmla="*/ 326 h 814"/>
                <a:gd name="T6" fmla="*/ 846 w 846"/>
                <a:gd name="T7" fmla="*/ 0 h 814"/>
                <a:gd name="T8" fmla="*/ 0 w 846"/>
                <a:gd name="T9" fmla="*/ 495 h 814"/>
                <a:gd name="T10" fmla="*/ 0 w 846"/>
                <a:gd name="T11" fmla="*/ 814 h 814"/>
                <a:gd name="connsiteX0" fmla="*/ 0 w 10000"/>
                <a:gd name="connsiteY0" fmla="*/ 10096 h 10096"/>
                <a:gd name="connsiteX1" fmla="*/ 0 w 10000"/>
                <a:gd name="connsiteY1" fmla="*/ 10096 h 10096"/>
                <a:gd name="connsiteX2" fmla="*/ 10000 w 10000"/>
                <a:gd name="connsiteY2" fmla="*/ 4101 h 10096"/>
                <a:gd name="connsiteX3" fmla="*/ 10000 w 10000"/>
                <a:gd name="connsiteY3" fmla="*/ 0 h 10096"/>
                <a:gd name="connsiteX4" fmla="*/ 0 w 10000"/>
                <a:gd name="connsiteY4" fmla="*/ 6177 h 10096"/>
                <a:gd name="connsiteX5" fmla="*/ 0 w 10000"/>
                <a:gd name="connsiteY5" fmla="*/ 10096 h 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96">
                  <a:moveTo>
                    <a:pt x="0" y="10096"/>
                  </a:moveTo>
                  <a:lnTo>
                    <a:pt x="0" y="10096"/>
                  </a:lnTo>
                  <a:lnTo>
                    <a:pt x="10000" y="4101"/>
                  </a:lnTo>
                  <a:lnTo>
                    <a:pt x="10000" y="0"/>
                  </a:lnTo>
                  <a:lnTo>
                    <a:pt x="0" y="6177"/>
                  </a:lnTo>
                  <a:lnTo>
                    <a:pt x="0" y="10096"/>
                  </a:lnTo>
                  <a:close/>
                </a:path>
              </a:pathLst>
            </a:custGeom>
            <a:solidFill>
              <a:srgbClr val="7B7B7B"/>
            </a:solidFill>
            <a:ln w="9525">
              <a:solidFill>
                <a:srgbClr val="7B7B7B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5" name="Freeform 144"/>
            <p:cNvSpPr>
              <a:spLocks/>
            </p:cNvSpPr>
            <p:nvPr userDrawn="1"/>
          </p:nvSpPr>
          <p:spPr bwMode="auto">
            <a:xfrm>
              <a:off x="6091238" y="-3529013"/>
              <a:ext cx="549275" cy="657225"/>
            </a:xfrm>
            <a:custGeom>
              <a:avLst/>
              <a:gdLst>
                <a:gd name="T0" fmla="*/ 339 w 339"/>
                <a:gd name="T1" fmla="*/ 407 h 407"/>
                <a:gd name="T2" fmla="*/ 339 w 339"/>
                <a:gd name="T3" fmla="*/ 75 h 407"/>
                <a:gd name="T4" fmla="*/ 339 w 339"/>
                <a:gd name="T5" fmla="*/ 75 h 407"/>
                <a:gd name="T6" fmla="*/ 210 w 339"/>
                <a:gd name="T7" fmla="*/ 0 h 407"/>
                <a:gd name="T8" fmla="*/ 0 w 339"/>
                <a:gd name="T9" fmla="*/ 212 h 407"/>
                <a:gd name="T10" fmla="*/ 339 w 339"/>
                <a:gd name="T11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407">
                  <a:moveTo>
                    <a:pt x="339" y="407"/>
                  </a:moveTo>
                  <a:cubicBezTo>
                    <a:pt x="339" y="75"/>
                    <a:pt x="339" y="75"/>
                    <a:pt x="339" y="75"/>
                  </a:cubicBezTo>
                  <a:cubicBezTo>
                    <a:pt x="339" y="75"/>
                    <a:pt x="339" y="75"/>
                    <a:pt x="339" y="75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11" y="61"/>
                    <a:pt x="18" y="187"/>
                    <a:pt x="0" y="212"/>
                  </a:cubicBezTo>
                  <a:cubicBezTo>
                    <a:pt x="339" y="407"/>
                    <a:pt x="339" y="407"/>
                    <a:pt x="339" y="4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6" name="Freeform 145"/>
            <p:cNvSpPr>
              <a:spLocks/>
            </p:cNvSpPr>
            <p:nvPr userDrawn="1"/>
          </p:nvSpPr>
          <p:spPr bwMode="auto">
            <a:xfrm>
              <a:off x="6083300" y="-3189288"/>
              <a:ext cx="7938" cy="11113"/>
            </a:xfrm>
            <a:custGeom>
              <a:avLst/>
              <a:gdLst>
                <a:gd name="T0" fmla="*/ 5 w 5"/>
                <a:gd name="T1" fmla="*/ 1 h 6"/>
                <a:gd name="T2" fmla="*/ 4 w 5"/>
                <a:gd name="T3" fmla="*/ 0 h 6"/>
                <a:gd name="T4" fmla="*/ 5 w 5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6"/>
                    <a:pt x="1" y="6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7" name="Freeform 146"/>
            <p:cNvSpPr>
              <a:spLocks/>
            </p:cNvSpPr>
            <p:nvPr userDrawn="1"/>
          </p:nvSpPr>
          <p:spPr bwMode="auto">
            <a:xfrm>
              <a:off x="3657600" y="-3146425"/>
              <a:ext cx="4872038" cy="1436688"/>
            </a:xfrm>
            <a:custGeom>
              <a:avLst/>
              <a:gdLst>
                <a:gd name="T0" fmla="*/ 2686 w 3008"/>
                <a:gd name="T1" fmla="*/ 249 h 888"/>
                <a:gd name="T2" fmla="*/ 2634 w 3008"/>
                <a:gd name="T3" fmla="*/ 249 h 888"/>
                <a:gd name="T4" fmla="*/ 2590 w 3008"/>
                <a:gd name="T5" fmla="*/ 49 h 888"/>
                <a:gd name="T6" fmla="*/ 1842 w 3008"/>
                <a:gd name="T7" fmla="*/ 486 h 888"/>
                <a:gd name="T8" fmla="*/ 1842 w 3008"/>
                <a:gd name="T9" fmla="*/ 483 h 888"/>
                <a:gd name="T10" fmla="*/ 1842 w 3008"/>
                <a:gd name="T11" fmla="*/ 483 h 888"/>
                <a:gd name="T12" fmla="*/ 1013 w 3008"/>
                <a:gd name="T13" fmla="*/ 5 h 888"/>
                <a:gd name="T14" fmla="*/ 1013 w 3008"/>
                <a:gd name="T15" fmla="*/ 0 h 888"/>
                <a:gd name="T16" fmla="*/ 1012 w 3008"/>
                <a:gd name="T17" fmla="*/ 0 h 888"/>
                <a:gd name="T18" fmla="*/ 666 w 3008"/>
                <a:gd name="T19" fmla="*/ 397 h 888"/>
                <a:gd name="T20" fmla="*/ 456 w 3008"/>
                <a:gd name="T21" fmla="*/ 494 h 888"/>
                <a:gd name="T22" fmla="*/ 254 w 3008"/>
                <a:gd name="T23" fmla="*/ 390 h 888"/>
                <a:gd name="T24" fmla="*/ 0 w 3008"/>
                <a:gd name="T25" fmla="*/ 635 h 888"/>
                <a:gd name="T26" fmla="*/ 254 w 3008"/>
                <a:gd name="T27" fmla="*/ 888 h 888"/>
                <a:gd name="T28" fmla="*/ 321 w 3008"/>
                <a:gd name="T29" fmla="*/ 888 h 888"/>
                <a:gd name="T30" fmla="*/ 1145 w 3008"/>
                <a:gd name="T31" fmla="*/ 888 h 888"/>
                <a:gd name="T32" fmla="*/ 1601 w 3008"/>
                <a:gd name="T33" fmla="*/ 888 h 888"/>
                <a:gd name="T34" fmla="*/ 2709 w 3008"/>
                <a:gd name="T35" fmla="*/ 888 h 888"/>
                <a:gd name="T36" fmla="*/ 3008 w 3008"/>
                <a:gd name="T37" fmla="*/ 568 h 888"/>
                <a:gd name="T38" fmla="*/ 2686 w 3008"/>
                <a:gd name="T39" fmla="*/ 249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08" h="888">
                  <a:moveTo>
                    <a:pt x="2686" y="249"/>
                  </a:moveTo>
                  <a:cubicBezTo>
                    <a:pt x="2671" y="249"/>
                    <a:pt x="2656" y="249"/>
                    <a:pt x="2634" y="249"/>
                  </a:cubicBezTo>
                  <a:cubicBezTo>
                    <a:pt x="2631" y="178"/>
                    <a:pt x="2615" y="111"/>
                    <a:pt x="2590" y="49"/>
                  </a:cubicBezTo>
                  <a:cubicBezTo>
                    <a:pt x="1842" y="486"/>
                    <a:pt x="1842" y="486"/>
                    <a:pt x="1842" y="486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842" y="483"/>
                    <a:pt x="1842" y="483"/>
                    <a:pt x="1842" y="483"/>
                  </a:cubicBezTo>
                  <a:cubicBezTo>
                    <a:pt x="1013" y="5"/>
                    <a:pt x="1013" y="5"/>
                    <a:pt x="1013" y="5"/>
                  </a:cubicBezTo>
                  <a:cubicBezTo>
                    <a:pt x="1013" y="0"/>
                    <a:pt x="1013" y="0"/>
                    <a:pt x="1013" y="0"/>
                  </a:cubicBezTo>
                  <a:cubicBezTo>
                    <a:pt x="1012" y="0"/>
                    <a:pt x="1012" y="0"/>
                    <a:pt x="1012" y="0"/>
                  </a:cubicBezTo>
                  <a:cubicBezTo>
                    <a:pt x="827" y="44"/>
                    <a:pt x="685" y="202"/>
                    <a:pt x="666" y="397"/>
                  </a:cubicBezTo>
                  <a:cubicBezTo>
                    <a:pt x="591" y="405"/>
                    <a:pt x="516" y="442"/>
                    <a:pt x="456" y="494"/>
                  </a:cubicBezTo>
                  <a:cubicBezTo>
                    <a:pt x="411" y="427"/>
                    <a:pt x="336" y="390"/>
                    <a:pt x="254" y="390"/>
                  </a:cubicBezTo>
                  <a:cubicBezTo>
                    <a:pt x="112" y="390"/>
                    <a:pt x="0" y="501"/>
                    <a:pt x="0" y="635"/>
                  </a:cubicBezTo>
                  <a:cubicBezTo>
                    <a:pt x="0" y="776"/>
                    <a:pt x="112" y="888"/>
                    <a:pt x="254" y="888"/>
                  </a:cubicBezTo>
                  <a:cubicBezTo>
                    <a:pt x="321" y="888"/>
                    <a:pt x="321" y="888"/>
                    <a:pt x="321" y="888"/>
                  </a:cubicBezTo>
                  <a:cubicBezTo>
                    <a:pt x="1145" y="888"/>
                    <a:pt x="1145" y="888"/>
                    <a:pt x="1145" y="888"/>
                  </a:cubicBezTo>
                  <a:cubicBezTo>
                    <a:pt x="1601" y="888"/>
                    <a:pt x="1601" y="888"/>
                    <a:pt x="1601" y="888"/>
                  </a:cubicBezTo>
                  <a:cubicBezTo>
                    <a:pt x="2709" y="888"/>
                    <a:pt x="2709" y="888"/>
                    <a:pt x="2709" y="888"/>
                  </a:cubicBezTo>
                  <a:cubicBezTo>
                    <a:pt x="2873" y="873"/>
                    <a:pt x="3008" y="739"/>
                    <a:pt x="3008" y="568"/>
                  </a:cubicBezTo>
                  <a:cubicBezTo>
                    <a:pt x="3008" y="390"/>
                    <a:pt x="2866" y="249"/>
                    <a:pt x="2686" y="2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 dirty="0"/>
            </a:p>
          </p:txBody>
        </p:sp>
      </p:grpSp>
      <p:grpSp>
        <p:nvGrpSpPr>
          <p:cNvPr id="148" name="Group 147"/>
          <p:cNvGrpSpPr/>
          <p:nvPr userDrawn="1"/>
        </p:nvGrpSpPr>
        <p:grpSpPr>
          <a:xfrm>
            <a:off x="8070936" y="6101534"/>
            <a:ext cx="445100" cy="689535"/>
            <a:chOff x="7259638" y="4756151"/>
            <a:chExt cx="454025" cy="703262"/>
          </a:xfrm>
        </p:grpSpPr>
        <p:sp>
          <p:nvSpPr>
            <p:cNvPr id="149" name="Freeform 10"/>
            <p:cNvSpPr>
              <a:spLocks/>
            </p:cNvSpPr>
            <p:nvPr userDrawn="1"/>
          </p:nvSpPr>
          <p:spPr bwMode="auto">
            <a:xfrm>
              <a:off x="7410450" y="4933951"/>
              <a:ext cx="152400" cy="87313"/>
            </a:xfrm>
            <a:custGeom>
              <a:avLst/>
              <a:gdLst>
                <a:gd name="T0" fmla="*/ 96 w 96"/>
                <a:gd name="T1" fmla="*/ 27 h 55"/>
                <a:gd name="T2" fmla="*/ 47 w 96"/>
                <a:gd name="T3" fmla="*/ 0 h 55"/>
                <a:gd name="T4" fmla="*/ 0 w 96"/>
                <a:gd name="T5" fmla="*/ 27 h 55"/>
                <a:gd name="T6" fmla="*/ 48 w 96"/>
                <a:gd name="T7" fmla="*/ 55 h 55"/>
                <a:gd name="T8" fmla="*/ 96 w 96"/>
                <a:gd name="T9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5">
                  <a:moveTo>
                    <a:pt x="96" y="27"/>
                  </a:moveTo>
                  <a:lnTo>
                    <a:pt x="47" y="0"/>
                  </a:lnTo>
                  <a:lnTo>
                    <a:pt x="0" y="27"/>
                  </a:lnTo>
                  <a:lnTo>
                    <a:pt x="48" y="55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0" name="Freeform 11"/>
            <p:cNvSpPr>
              <a:spLocks/>
            </p:cNvSpPr>
            <p:nvPr userDrawn="1"/>
          </p:nvSpPr>
          <p:spPr bwMode="auto">
            <a:xfrm>
              <a:off x="7486650" y="4887913"/>
              <a:ext cx="227013" cy="307975"/>
            </a:xfrm>
            <a:custGeom>
              <a:avLst/>
              <a:gdLst>
                <a:gd name="T0" fmla="*/ 0 w 143"/>
                <a:gd name="T1" fmla="*/ 194 h 194"/>
                <a:gd name="T2" fmla="*/ 143 w 143"/>
                <a:gd name="T3" fmla="*/ 110 h 194"/>
                <a:gd name="T4" fmla="*/ 143 w 143"/>
                <a:gd name="T5" fmla="*/ 0 h 194"/>
                <a:gd name="T6" fmla="*/ 0 w 143"/>
                <a:gd name="T7" fmla="*/ 84 h 194"/>
                <a:gd name="T8" fmla="*/ 0 w 143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4">
                  <a:moveTo>
                    <a:pt x="0" y="194"/>
                  </a:moveTo>
                  <a:lnTo>
                    <a:pt x="143" y="110"/>
                  </a:lnTo>
                  <a:lnTo>
                    <a:pt x="143" y="0"/>
                  </a:lnTo>
                  <a:lnTo>
                    <a:pt x="0" y="84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1" name="Freeform 12"/>
            <p:cNvSpPr>
              <a:spLocks/>
            </p:cNvSpPr>
            <p:nvPr userDrawn="1"/>
          </p:nvSpPr>
          <p:spPr bwMode="auto">
            <a:xfrm>
              <a:off x="7332663" y="4930776"/>
              <a:ext cx="153988" cy="266700"/>
            </a:xfrm>
            <a:custGeom>
              <a:avLst/>
              <a:gdLst>
                <a:gd name="T0" fmla="*/ 97 w 97"/>
                <a:gd name="T1" fmla="*/ 168 h 168"/>
                <a:gd name="T2" fmla="*/ 0 w 97"/>
                <a:gd name="T3" fmla="*/ 112 h 168"/>
                <a:gd name="T4" fmla="*/ 0 w 97"/>
                <a:gd name="T5" fmla="*/ 0 h 168"/>
                <a:gd name="T6" fmla="*/ 97 w 97"/>
                <a:gd name="T7" fmla="*/ 57 h 168"/>
                <a:gd name="T8" fmla="*/ 97 w 97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8">
                  <a:moveTo>
                    <a:pt x="97" y="168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97" y="57"/>
                  </a:lnTo>
                  <a:lnTo>
                    <a:pt x="97" y="168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2" name="Freeform 13"/>
            <p:cNvSpPr>
              <a:spLocks/>
            </p:cNvSpPr>
            <p:nvPr userDrawn="1"/>
          </p:nvSpPr>
          <p:spPr bwMode="auto">
            <a:xfrm>
              <a:off x="7259638" y="5149851"/>
              <a:ext cx="133350" cy="209550"/>
            </a:xfrm>
            <a:custGeom>
              <a:avLst/>
              <a:gdLst>
                <a:gd name="T0" fmla="*/ 45 w 82"/>
                <a:gd name="T1" fmla="*/ 27 h 130"/>
                <a:gd name="T2" fmla="*/ 0 w 82"/>
                <a:gd name="T3" fmla="*/ 0 h 130"/>
                <a:gd name="T4" fmla="*/ 0 w 82"/>
                <a:gd name="T5" fmla="*/ 109 h 130"/>
                <a:gd name="T6" fmla="*/ 17 w 82"/>
                <a:gd name="T7" fmla="*/ 107 h 130"/>
                <a:gd name="T8" fmla="*/ 71 w 82"/>
                <a:gd name="T9" fmla="*/ 130 h 130"/>
                <a:gd name="T10" fmla="*/ 82 w 82"/>
                <a:gd name="T11" fmla="*/ 105 h 130"/>
                <a:gd name="T12" fmla="*/ 45 w 82"/>
                <a:gd name="T13" fmla="*/ 83 h 130"/>
                <a:gd name="T14" fmla="*/ 45 w 82"/>
                <a:gd name="T15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0">
                  <a:moveTo>
                    <a:pt x="45" y="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8"/>
                    <a:pt x="11" y="107"/>
                    <a:pt x="17" y="107"/>
                  </a:cubicBezTo>
                  <a:cubicBezTo>
                    <a:pt x="38" y="107"/>
                    <a:pt x="57" y="116"/>
                    <a:pt x="71" y="130"/>
                  </a:cubicBezTo>
                  <a:cubicBezTo>
                    <a:pt x="74" y="121"/>
                    <a:pt x="78" y="112"/>
                    <a:pt x="82" y="105"/>
                  </a:cubicBezTo>
                  <a:cubicBezTo>
                    <a:pt x="45" y="83"/>
                    <a:pt x="45" y="83"/>
                    <a:pt x="45" y="83"/>
                  </a:cubicBezTo>
                  <a:lnTo>
                    <a:pt x="45" y="27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3" name="Freeform 14"/>
            <p:cNvSpPr>
              <a:spLocks/>
            </p:cNvSpPr>
            <p:nvPr userDrawn="1"/>
          </p:nvSpPr>
          <p:spPr bwMode="auto">
            <a:xfrm>
              <a:off x="7486650" y="5062538"/>
              <a:ext cx="227013" cy="217488"/>
            </a:xfrm>
            <a:custGeom>
              <a:avLst/>
              <a:gdLst>
                <a:gd name="T0" fmla="*/ 0 w 143"/>
                <a:gd name="T1" fmla="*/ 137 h 137"/>
                <a:gd name="T2" fmla="*/ 143 w 143"/>
                <a:gd name="T3" fmla="*/ 55 h 137"/>
                <a:gd name="T4" fmla="*/ 143 w 143"/>
                <a:gd name="T5" fmla="*/ 0 h 137"/>
                <a:gd name="T6" fmla="*/ 0 w 143"/>
                <a:gd name="T7" fmla="*/ 85 h 137"/>
                <a:gd name="T8" fmla="*/ 0 w 143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7">
                  <a:moveTo>
                    <a:pt x="0" y="137"/>
                  </a:moveTo>
                  <a:lnTo>
                    <a:pt x="143" y="55"/>
                  </a:lnTo>
                  <a:lnTo>
                    <a:pt x="143" y="0"/>
                  </a:lnTo>
                  <a:lnTo>
                    <a:pt x="0" y="85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4" name="Freeform 15"/>
            <p:cNvSpPr>
              <a:spLocks/>
            </p:cNvSpPr>
            <p:nvPr userDrawn="1"/>
          </p:nvSpPr>
          <p:spPr bwMode="auto">
            <a:xfrm>
              <a:off x="7486650" y="5148263"/>
              <a:ext cx="227013" cy="311150"/>
            </a:xfrm>
            <a:custGeom>
              <a:avLst/>
              <a:gdLst>
                <a:gd name="T0" fmla="*/ 0 w 143"/>
                <a:gd name="T1" fmla="*/ 196 h 196"/>
                <a:gd name="T2" fmla="*/ 143 w 143"/>
                <a:gd name="T3" fmla="*/ 112 h 196"/>
                <a:gd name="T4" fmla="*/ 143 w 143"/>
                <a:gd name="T5" fmla="*/ 0 h 196"/>
                <a:gd name="T6" fmla="*/ 0 w 143"/>
                <a:gd name="T7" fmla="*/ 83 h 196"/>
                <a:gd name="T8" fmla="*/ 0 w 14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96">
                  <a:moveTo>
                    <a:pt x="0" y="196"/>
                  </a:moveTo>
                  <a:lnTo>
                    <a:pt x="143" y="112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196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5" name="Freeform 16"/>
            <p:cNvSpPr>
              <a:spLocks/>
            </p:cNvSpPr>
            <p:nvPr userDrawn="1"/>
          </p:nvSpPr>
          <p:spPr bwMode="auto">
            <a:xfrm>
              <a:off x="7259638" y="5319713"/>
              <a:ext cx="227013" cy="139700"/>
            </a:xfrm>
            <a:custGeom>
              <a:avLst/>
              <a:gdLst>
                <a:gd name="T0" fmla="*/ 140 w 140"/>
                <a:gd name="T1" fmla="*/ 33 h 86"/>
                <a:gd name="T2" fmla="*/ 140 w 140"/>
                <a:gd name="T3" fmla="*/ 33 h 86"/>
                <a:gd name="T4" fmla="*/ 82 w 140"/>
                <a:gd name="T5" fmla="*/ 0 h 86"/>
                <a:gd name="T6" fmla="*/ 71 w 140"/>
                <a:gd name="T7" fmla="*/ 25 h 86"/>
                <a:gd name="T8" fmla="*/ 17 w 140"/>
                <a:gd name="T9" fmla="*/ 2 h 86"/>
                <a:gd name="T10" fmla="*/ 0 w 140"/>
                <a:gd name="T11" fmla="*/ 4 h 86"/>
                <a:gd name="T12" fmla="*/ 0 w 140"/>
                <a:gd name="T13" fmla="*/ 5 h 86"/>
                <a:gd name="T14" fmla="*/ 140 w 140"/>
                <a:gd name="T15" fmla="*/ 86 h 86"/>
                <a:gd name="T16" fmla="*/ 140 w 140"/>
                <a:gd name="T17" fmla="*/ 86 h 86"/>
                <a:gd name="T18" fmla="*/ 140 w 140"/>
                <a:gd name="T19" fmla="*/ 3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6">
                  <a:moveTo>
                    <a:pt x="14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7"/>
                    <a:pt x="74" y="16"/>
                    <a:pt x="71" y="25"/>
                  </a:cubicBezTo>
                  <a:cubicBezTo>
                    <a:pt x="57" y="11"/>
                    <a:pt x="38" y="2"/>
                    <a:pt x="17" y="2"/>
                  </a:cubicBezTo>
                  <a:cubicBezTo>
                    <a:pt x="11" y="2"/>
                    <a:pt x="5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0" y="86"/>
                    <a:pt x="140" y="86"/>
                    <a:pt x="140" y="86"/>
                  </a:cubicBezTo>
                  <a:cubicBezTo>
                    <a:pt x="140" y="86"/>
                    <a:pt x="140" y="86"/>
                    <a:pt x="140" y="86"/>
                  </a:cubicBezTo>
                  <a:lnTo>
                    <a:pt x="140" y="33"/>
                  </a:lnTo>
                  <a:close/>
                </a:path>
              </a:pathLst>
            </a:custGeom>
            <a:solidFill>
              <a:srgbClr val="A0E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6" name="Freeform 17"/>
            <p:cNvSpPr>
              <a:spLocks/>
            </p:cNvSpPr>
            <p:nvPr userDrawn="1"/>
          </p:nvSpPr>
          <p:spPr bwMode="auto">
            <a:xfrm>
              <a:off x="7259638" y="4756151"/>
              <a:ext cx="454025" cy="523875"/>
            </a:xfrm>
            <a:custGeom>
              <a:avLst/>
              <a:gdLst>
                <a:gd name="T0" fmla="*/ 143 w 286"/>
                <a:gd name="T1" fmla="*/ 277 h 330"/>
                <a:gd name="T2" fmla="*/ 143 w 286"/>
                <a:gd name="T3" fmla="*/ 277 h 330"/>
                <a:gd name="T4" fmla="*/ 46 w 286"/>
                <a:gd name="T5" fmla="*/ 222 h 330"/>
                <a:gd name="T6" fmla="*/ 46 w 286"/>
                <a:gd name="T7" fmla="*/ 110 h 330"/>
                <a:gd name="T8" fmla="*/ 143 w 286"/>
                <a:gd name="T9" fmla="*/ 54 h 330"/>
                <a:gd name="T10" fmla="*/ 239 w 286"/>
                <a:gd name="T11" fmla="*/ 110 h 330"/>
                <a:gd name="T12" fmla="*/ 239 w 286"/>
                <a:gd name="T13" fmla="*/ 110 h 330"/>
                <a:gd name="T14" fmla="*/ 286 w 286"/>
                <a:gd name="T15" fmla="*/ 83 h 330"/>
                <a:gd name="T16" fmla="*/ 143 w 286"/>
                <a:gd name="T17" fmla="*/ 0 h 330"/>
                <a:gd name="T18" fmla="*/ 0 w 286"/>
                <a:gd name="T19" fmla="*/ 83 h 330"/>
                <a:gd name="T20" fmla="*/ 0 w 286"/>
                <a:gd name="T21" fmla="*/ 248 h 330"/>
                <a:gd name="T22" fmla="*/ 143 w 286"/>
                <a:gd name="T23" fmla="*/ 330 h 330"/>
                <a:gd name="T24" fmla="*/ 143 w 286"/>
                <a:gd name="T25" fmla="*/ 330 h 330"/>
                <a:gd name="T26" fmla="*/ 143 w 286"/>
                <a:gd name="T27" fmla="*/ 27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330">
                  <a:moveTo>
                    <a:pt x="143" y="277"/>
                  </a:moveTo>
                  <a:lnTo>
                    <a:pt x="143" y="277"/>
                  </a:lnTo>
                  <a:lnTo>
                    <a:pt x="46" y="222"/>
                  </a:lnTo>
                  <a:lnTo>
                    <a:pt x="46" y="110"/>
                  </a:lnTo>
                  <a:lnTo>
                    <a:pt x="143" y="54"/>
                  </a:lnTo>
                  <a:lnTo>
                    <a:pt x="239" y="110"/>
                  </a:lnTo>
                  <a:lnTo>
                    <a:pt x="239" y="110"/>
                  </a:lnTo>
                  <a:lnTo>
                    <a:pt x="286" y="83"/>
                  </a:lnTo>
                  <a:lnTo>
                    <a:pt x="143" y="0"/>
                  </a:lnTo>
                  <a:lnTo>
                    <a:pt x="0" y="83"/>
                  </a:lnTo>
                  <a:lnTo>
                    <a:pt x="0" y="248"/>
                  </a:lnTo>
                  <a:lnTo>
                    <a:pt x="143" y="330"/>
                  </a:lnTo>
                  <a:lnTo>
                    <a:pt x="143" y="330"/>
                  </a:lnTo>
                  <a:lnTo>
                    <a:pt x="143" y="277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9709935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5928E-6 -1.32547E-6 L 0.06932 0.00023 " pathEditMode="relative" rAng="0" ptsTypes="AA">
                                      <p:cBhvr>
                                        <p:cTn id="17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9599E-6 -8.17068E-7 L 0.06931 0.00023 " pathEditMode="relative" rAng="0" ptsTypes="AA">
                                      <p:cBhvr>
                                        <p:cTn id="19" dur="125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2193E-6 -4.82524E-6 L -0.10326 -4.82524E-6 " pathEditMode="relative" rAng="0" ptsTypes="AA">
                                      <p:cBhvr>
                                        <p:cTn id="24" dur="12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70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99132E-7 -9.30549E-7 L -0.00064 -0.20608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4238E-8 -4.74353E-6 L -0.00064 -0.20608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1030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7.1228E-7 -4.95234E-6 L 0.00498 -0.21402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" y="-10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1" grpId="1" animBg="1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981195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invGray">
          <a:xfrm>
            <a:off x="449820" y="471738"/>
            <a:ext cx="2135184" cy="456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029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820" y="471124"/>
            <a:ext cx="2134206" cy="45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7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77023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8"/>
            <a:ext cx="5826760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13333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68110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8781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6865440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1647952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03835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1647952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068897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25067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0184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59970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88293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868204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29955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520228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770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31553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| Sub  -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2"/>
            <a:ext cx="6125968" cy="899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9241" y="1803528"/>
            <a:ext cx="612556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6545770" y="0"/>
            <a:ext cx="564623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96420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57948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Sub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7683" y="1710608"/>
            <a:ext cx="11877629" cy="1644641"/>
          </a:xfrm>
        </p:spPr>
        <p:txBody>
          <a:bodyPr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135823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778861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9859116" cy="1874884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8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3" y="291069"/>
            <a:ext cx="1563248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20" b="1" dirty="0">
                <a:solidFill>
                  <a:schemeClr val="bg1"/>
                </a:solidFill>
              </a:rPr>
              <a:t>demo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320106" y="1337045"/>
            <a:ext cx="362136" cy="6220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marL="0" marR="0" lvl="0" indent="0" defTabSz="89621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gradFill>
                <a:gsLst>
                  <a:gs pos="16000">
                    <a:srgbClr val="FFFFFF">
                      <a:alpha val="90000"/>
                    </a:srgbClr>
                  </a:gs>
                  <a:gs pos="90000">
                    <a:srgbClr val="FFFFFF">
                      <a:alpha val="90000"/>
                    </a:srgbClr>
                  </a:gs>
                </a:gsLst>
                <a:lin ang="16200000" scaled="0"/>
              </a:gradFill>
              <a:effectLst/>
              <a:uLnTx/>
              <a:uFillTx/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57811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4577398" cy="1874884"/>
          </a:xfrm>
          <a:noFill/>
        </p:spPr>
        <p:txBody>
          <a:bodyPr tIns="91440" bIns="91440" anchor="t" anchorCtr="0"/>
          <a:lstStyle>
            <a:lvl1pPr>
              <a:defRPr sz="7054" spc="-98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9"/>
            <a:ext cx="4578121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2" y="291069"/>
            <a:ext cx="1516762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19" b="1" dirty="0">
                <a:solidFill>
                  <a:schemeClr val="bg1"/>
                </a:solidFill>
              </a:rPr>
              <a:t>video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038" y="1705680"/>
            <a:ext cx="6218237" cy="360826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977017" y="864543"/>
            <a:ext cx="5083622" cy="5389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1765" kern="1200" dirty="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rPr>
              <a:t>Analytics &amp; Business Intelligence Partner Airlift</a:t>
            </a:r>
            <a:endParaRPr lang="en-US" sz="2353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1650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09460"/>
            <a:ext cx="9859116" cy="1874884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8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3" name="Rectangle 2"/>
          <p:cNvSpPr/>
          <p:nvPr/>
        </p:nvSpPr>
        <p:spPr>
          <a:xfrm>
            <a:off x="448212" y="291069"/>
            <a:ext cx="1516762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920" b="1" dirty="0">
                <a:solidFill>
                  <a:schemeClr val="bg1"/>
                </a:solidFill>
              </a:rPr>
              <a:t>video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977017" y="864543"/>
            <a:ext cx="5083622" cy="538956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1765" kern="1200" dirty="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rPr>
              <a:t>Analytics &amp; Business Intelligence Partner Airlift</a:t>
            </a:r>
            <a:endParaRPr lang="en-US" sz="2353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2259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457736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588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51097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6469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979639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1250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661545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609388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598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32860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invGray">
          <a:xfrm>
            <a:off x="353714" y="3134846"/>
            <a:ext cx="3320351" cy="709743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/>
        </p:nvSpPr>
        <p:spPr bwMode="blackWhite">
          <a:xfrm>
            <a:off x="194537" y="5296816"/>
            <a:ext cx="10758655" cy="44812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1028" dirty="0">
                <a:gradFill>
                  <a:gsLst>
                    <a:gs pos="7500">
                      <a:schemeClr val="tx1"/>
                    </a:gs>
                    <a:gs pos="19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13957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1015471"/>
            <a:ext cx="11709400" cy="51706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850444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| Sub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7684" y="1710608"/>
            <a:ext cx="5833712" cy="1644641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709329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 Accent Col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328425"/>
            <a:ext cx="11653523" cy="1796217"/>
          </a:xfrm>
          <a:noFill/>
        </p:spPr>
        <p:txBody>
          <a:bodyPr tIns="91440" bIns="91440" anchor="ctr" anchorCtr="0"/>
          <a:lstStyle>
            <a:lvl1pPr>
              <a:defRPr sz="5881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Key takeaway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2457736"/>
            <a:ext cx="5378549" cy="1644641"/>
          </a:xfrm>
        </p:spPr>
        <p:txBody>
          <a:bodyPr lIns="603504"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946596" y="2457736"/>
            <a:ext cx="5976166" cy="1644641"/>
          </a:xfrm>
        </p:spPr>
        <p:txBody>
          <a:bodyPr lIns="603504"/>
          <a:lstStyle>
            <a:lvl1pPr marL="0" indent="0">
              <a:buNone/>
              <a:defRPr/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94534" y="1710609"/>
            <a:ext cx="1120533" cy="954326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4704" dirty="0">
                <a:solidFill>
                  <a:srgbClr val="3C6F82"/>
                </a:solidFill>
                <a:cs typeface="Segoe UI Semilight" panose="020B0402040204020203" pitchFamily="34" charset="0"/>
              </a:rPr>
              <a:t>01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795635" y="1710609"/>
            <a:ext cx="1419339" cy="954326"/>
          </a:xfrm>
          <a:prstGeom prst="rect">
            <a:avLst/>
          </a:prstGeom>
          <a:noFill/>
        </p:spPr>
        <p:txBody>
          <a:bodyPr wrap="square" lIns="179259" tIns="143407" rIns="179259" bIns="143407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4704" dirty="0">
                <a:solidFill>
                  <a:srgbClr val="3C6F82"/>
                </a:solidFill>
                <a:cs typeface="Segoe UI Semilight" panose="020B0402040204020203" pitchFamily="34" charset="0"/>
              </a:rPr>
              <a:t>02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4443" y="2457736"/>
            <a:ext cx="821723" cy="0"/>
          </a:xfrm>
          <a:prstGeom prst="line">
            <a:avLst/>
          </a:prstGeom>
          <a:ln w="38100">
            <a:solidFill>
              <a:srgbClr val="36678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343939" y="2457736"/>
            <a:ext cx="821723" cy="0"/>
          </a:xfrm>
          <a:prstGeom prst="line">
            <a:avLst/>
          </a:prstGeom>
          <a:ln w="38100">
            <a:solidFill>
              <a:srgbClr val="36678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2550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2467539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9231" y="3145041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8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59" tIns="143409" rIns="179259" bIns="14340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2791436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58249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5692890" cy="102287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8510" y="1834504"/>
            <a:ext cx="6274974" cy="1022069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 dirty="0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95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8510" y="259969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 dirty="0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95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4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8510" y="3378027"/>
            <a:ext cx="6274974" cy="1022998"/>
          </a:xfrm>
        </p:spPr>
        <p:txBody>
          <a:bodyPr lIns="182880" tIns="146304" rIns="182880" bIns="146304"/>
          <a:lstStyle>
            <a:lvl1pPr marL="0" indent="0">
              <a:buNone/>
              <a:defRPr sz="5294"/>
            </a:lvl1pPr>
          </a:lstStyle>
          <a:p>
            <a:pPr lvl="0"/>
            <a:r>
              <a:rPr lang="en-US" dirty="0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942155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7008" y="5999452"/>
            <a:ext cx="5113948" cy="615609"/>
            <a:chOff x="274638" y="4554931"/>
            <a:chExt cx="5216493" cy="62786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21649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73" y="1834504"/>
            <a:ext cx="786965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believ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7287" y="259969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7287" y="3378027"/>
            <a:ext cx="5661415" cy="102299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4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7287" y="4143220"/>
            <a:ext cx="6339711" cy="1022998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4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1391182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9677" y="288560"/>
            <a:ext cx="3585699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97080"/>
            <a:ext cx="3585699" cy="567015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406412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9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9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1"/>
      <p:bldP spid="7" grpId="2"/>
      <p:bldP spid="8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1"/>
      <p:bldP spid="8" grpId="2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9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18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1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29.xml"/><Relationship Id="rId21" Type="http://schemas.openxmlformats.org/officeDocument/2006/relationships/image" Target="../media/image27.png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242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36.xml"/><Relationship Id="rId19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50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49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6.xml"/><Relationship Id="rId18" Type="http://schemas.openxmlformats.org/officeDocument/2006/relationships/slideLayout" Target="../slideLayouts/slideLayout271.xml"/><Relationship Id="rId26" Type="http://schemas.openxmlformats.org/officeDocument/2006/relationships/slideLayout" Target="../slideLayouts/slideLayout279.xml"/><Relationship Id="rId3" Type="http://schemas.openxmlformats.org/officeDocument/2006/relationships/slideLayout" Target="../slideLayouts/slideLayout256.xml"/><Relationship Id="rId21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17" Type="http://schemas.openxmlformats.org/officeDocument/2006/relationships/slideLayout" Target="../slideLayouts/slideLayout270.xml"/><Relationship Id="rId25" Type="http://schemas.openxmlformats.org/officeDocument/2006/relationships/slideLayout" Target="../slideLayouts/slideLayout278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55.xml"/><Relationship Id="rId16" Type="http://schemas.openxmlformats.org/officeDocument/2006/relationships/slideLayout" Target="../slideLayouts/slideLayout269.xml"/><Relationship Id="rId20" Type="http://schemas.openxmlformats.org/officeDocument/2006/relationships/slideLayout" Target="../slideLayouts/slideLayout273.xml"/><Relationship Id="rId29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24" Type="http://schemas.openxmlformats.org/officeDocument/2006/relationships/slideLayout" Target="../slideLayouts/slideLayout277.xml"/><Relationship Id="rId32" Type="http://schemas.openxmlformats.org/officeDocument/2006/relationships/image" Target="../media/image33.png"/><Relationship Id="rId5" Type="http://schemas.openxmlformats.org/officeDocument/2006/relationships/slideLayout" Target="../slideLayouts/slideLayout258.xml"/><Relationship Id="rId15" Type="http://schemas.openxmlformats.org/officeDocument/2006/relationships/slideLayout" Target="../slideLayouts/slideLayout268.xml"/><Relationship Id="rId23" Type="http://schemas.openxmlformats.org/officeDocument/2006/relationships/slideLayout" Target="../slideLayouts/slideLayout276.xml"/><Relationship Id="rId28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63.xml"/><Relationship Id="rId19" Type="http://schemas.openxmlformats.org/officeDocument/2006/relationships/slideLayout" Target="../slideLayouts/slideLayout272.xml"/><Relationship Id="rId31" Type="http://schemas.openxmlformats.org/officeDocument/2006/relationships/theme" Target="../theme/theme15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slideLayout" Target="../slideLayouts/slideLayout267.xml"/><Relationship Id="rId22" Type="http://schemas.openxmlformats.org/officeDocument/2006/relationships/slideLayout" Target="../slideLayouts/slideLayout275.xml"/><Relationship Id="rId27" Type="http://schemas.openxmlformats.org/officeDocument/2006/relationships/slideLayout" Target="../slideLayouts/slideLayout280.xml"/><Relationship Id="rId30" Type="http://schemas.openxmlformats.org/officeDocument/2006/relationships/slideLayout" Target="../slideLayouts/slideLayout283.xml"/><Relationship Id="rId8" Type="http://schemas.openxmlformats.org/officeDocument/2006/relationships/slideLayout" Target="../slideLayouts/slideLayout26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slideLayout" Target="../slideLayouts/slideLayout301.xml"/><Relationship Id="rId26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slideLayout" Target="../slideLayouts/slideLayout300.xml"/><Relationship Id="rId25" Type="http://schemas.openxmlformats.org/officeDocument/2006/relationships/slideLayout" Target="../slideLayouts/slideLayout308.xml"/><Relationship Id="rId2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2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24" Type="http://schemas.openxmlformats.org/officeDocument/2006/relationships/slideLayout" Target="../slideLayouts/slideLayout307.xml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23" Type="http://schemas.openxmlformats.org/officeDocument/2006/relationships/slideLayout" Target="../slideLayouts/slideLayout306.xml"/><Relationship Id="rId28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293.xml"/><Relationship Id="rId19" Type="http://schemas.openxmlformats.org/officeDocument/2006/relationships/slideLayout" Target="../slideLayouts/slideLayout302.xml"/><Relationship Id="rId31" Type="http://schemas.openxmlformats.org/officeDocument/2006/relationships/image" Target="../media/image29.emf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Relationship Id="rId22" Type="http://schemas.openxmlformats.org/officeDocument/2006/relationships/slideLayout" Target="../slideLayouts/slideLayout305.xml"/><Relationship Id="rId27" Type="http://schemas.openxmlformats.org/officeDocument/2006/relationships/slideLayout" Target="../slideLayouts/slideLayout310.xml"/><Relationship Id="rId30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slideLayout" Target="../slideLayouts/slideLayout325.xml"/><Relationship Id="rId18" Type="http://schemas.openxmlformats.org/officeDocument/2006/relationships/slideLayout" Target="../slideLayouts/slideLayout330.xml"/><Relationship Id="rId3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4.xml"/><Relationship Id="rId17" Type="http://schemas.openxmlformats.org/officeDocument/2006/relationships/slideLayout" Target="../slideLayouts/slideLayout329.xml"/><Relationship Id="rId2" Type="http://schemas.openxmlformats.org/officeDocument/2006/relationships/slideLayout" Target="../slideLayouts/slideLayout314.xml"/><Relationship Id="rId16" Type="http://schemas.openxmlformats.org/officeDocument/2006/relationships/slideLayout" Target="../slideLayouts/slideLayout32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5" Type="http://schemas.openxmlformats.org/officeDocument/2006/relationships/slideLayout" Target="../slideLayouts/slideLayout317.xml"/><Relationship Id="rId15" Type="http://schemas.openxmlformats.org/officeDocument/2006/relationships/slideLayout" Target="../slideLayouts/slideLayout327.xml"/><Relationship Id="rId10" Type="http://schemas.openxmlformats.org/officeDocument/2006/relationships/slideLayout" Target="../slideLayouts/slideLayout322.xml"/><Relationship Id="rId19" Type="http://schemas.openxmlformats.org/officeDocument/2006/relationships/theme" Target="../theme/theme17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Relationship Id="rId14" Type="http://schemas.openxmlformats.org/officeDocument/2006/relationships/slideLayout" Target="../slideLayouts/slideLayout32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9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2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slideLayout" Target="../slideLayouts/slideLayout94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image" Target="../media/image19.png"/><Relationship Id="rId8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1.xml"/><Relationship Id="rId21" Type="http://schemas.openxmlformats.org/officeDocument/2006/relationships/image" Target="../media/image27.png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26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5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29" Type="http://schemas.openxmlformats.org/officeDocument/2006/relationships/theme" Target="../theme/theme9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slideLayout" Target="../slideLayouts/slideLayout181.xml"/><Relationship Id="rId28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180.xml"/><Relationship Id="rId27" Type="http://schemas.openxmlformats.org/officeDocument/2006/relationships/slideLayout" Target="../slideLayouts/slideLayout185.xml"/><Relationship Id="rId30" Type="http://schemas.openxmlformats.org/officeDocument/2006/relationships/image" Target="../media/image2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1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1" cy="232858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 rot="5400000">
            <a:off x="9187081" y="3012391"/>
            <a:ext cx="6858623" cy="833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735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</p:sldLayoutIdLst>
  <p:transition>
    <p:fade/>
  </p:transition>
  <p:txStyles>
    <p:titleStyle>
      <a:lvl1pPr algn="l" defTabSz="914344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2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82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74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64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55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446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9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2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964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4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6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2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3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378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F721487-8B7F-493B-8B57-62BA49E7B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54DF15-FA05-4A0F-8473-3C4660A5C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FE8759-22C2-468C-A375-06EB61BBC1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E64FB3-BD4F-4CB3-9479-4360403CE383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63FC92-B2A4-4CC8-A0C7-B966B0955B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AB0586-BA76-4E19-8CCC-FB785A071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7907CD-814C-4941-AFEE-FC734F777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2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</p:sldLayoutIdLst>
  <p:txStyles>
    <p:titleStyle>
      <a:lvl1pPr algn="l" defTabSz="913951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87" indent="-228487" algn="l" defTabSz="91395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462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438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413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388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364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39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312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87" indent="-228487" algn="l" defTabSz="9139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51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26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90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7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51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25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800" algn="l" defTabSz="91395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80" y="3012392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291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  <p:sldLayoutId id="2147483912" r:id="rId15"/>
    <p:sldLayoutId id="2147483913" r:id="rId16"/>
    <p:sldLayoutId id="2147483914" r:id="rId17"/>
    <p:sldLayoutId id="2147483915" r:id="rId18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30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59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088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1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14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208749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268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44" marR="0" indent="-336044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19" marR="0" indent="-236475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03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132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161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9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813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</p:sldLayoutIdLst>
  <p:transition>
    <p:fade/>
  </p:transition>
  <p:txStyles>
    <p:titleStyle>
      <a:lvl1pPr algn="l" defTabSz="913918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79" marR="0" indent="-335979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09" marR="0" indent="-236429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3952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7939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1924" marR="0" indent="-223987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27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3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91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9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391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6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4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3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1752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871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567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C9B1B5-B09F-4B98-AFC2-1B4B55BE018E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 rot="5400000">
            <a:off x="9044629" y="3216843"/>
            <a:ext cx="6858000" cy="42431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424" y="224112"/>
            <a:ext cx="11336039" cy="744014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37319" y="1110106"/>
            <a:ext cx="11336039" cy="20319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755482" y="3012080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02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  <p:sldLayoutId id="2147483980" r:id="rId19"/>
    <p:sldLayoutId id="2147483981" r:id="rId20"/>
    <p:sldLayoutId id="2147483982" r:id="rId21"/>
    <p:sldLayoutId id="2147483983" r:id="rId22"/>
    <p:sldLayoutId id="2147483984" r:id="rId23"/>
    <p:sldLayoutId id="2147483985" r:id="rId24"/>
    <p:sldLayoutId id="2147483986" r:id="rId25"/>
    <p:sldLayoutId id="2147483987" r:id="rId26"/>
    <p:sldLayoutId id="2147483988" r:id="rId27"/>
    <p:sldLayoutId id="2147483989" r:id="rId28"/>
    <p:sldLayoutId id="2147483990" r:id="rId29"/>
    <p:sldLayoutId id="2147483991" r:id="rId30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47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2745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1372"/>
        </a:spcAft>
        <a:buClrTx/>
        <a:buSzPct val="90000"/>
        <a:buFont typeface="Wingdings" panose="05000000000000000000" pitchFamily="2" charset="2"/>
        <a:buNone/>
        <a:tabLst/>
        <a:defRPr sz="1372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72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68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  <p:sldLayoutId id="2147484007" r:id="rId15"/>
    <p:sldLayoutId id="2147484008" r:id="rId16"/>
    <p:sldLayoutId id="2147484009" r:id="rId17"/>
    <p:sldLayoutId id="2147484010" r:id="rId18"/>
    <p:sldLayoutId id="2147484011" r:id="rId19"/>
    <p:sldLayoutId id="2147484012" r:id="rId20"/>
    <p:sldLayoutId id="2147484013" r:id="rId21"/>
    <p:sldLayoutId id="2147484014" r:id="rId22"/>
    <p:sldLayoutId id="2147484015" r:id="rId23"/>
    <p:sldLayoutId id="2147484016" r:id="rId24"/>
    <p:sldLayoutId id="2147484017" r:id="rId25"/>
    <p:sldLayoutId id="2147484018" r:id="rId26"/>
    <p:sldLayoutId id="2147484019" r:id="rId27"/>
    <p:sldLayoutId id="2147484020" r:id="rId28"/>
    <p:sldLayoutId id="2147484021" r:id="rId29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547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3" r:id="rId11"/>
    <p:sldLayoutId id="2147484034" r:id="rId12"/>
    <p:sldLayoutId id="2147484035" r:id="rId13"/>
    <p:sldLayoutId id="2147484036" r:id="rId14"/>
    <p:sldLayoutId id="2147484037" r:id="rId15"/>
    <p:sldLayoutId id="2147484038" r:id="rId16"/>
    <p:sldLayoutId id="2147484039" r:id="rId17"/>
    <p:sldLayoutId id="2147484040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6" y="334170"/>
            <a:ext cx="11573621" cy="892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6" y="1794669"/>
            <a:ext cx="11573621" cy="36096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59289" y="2932714"/>
            <a:ext cx="6724751" cy="859326"/>
          </a:xfrm>
          <a:prstGeom prst="rect">
            <a:avLst/>
          </a:prstGeom>
        </p:spPr>
      </p:pic>
      <p:pic>
        <p:nvPicPr>
          <p:cNvPr id="8" name="Picture 7" descr="https://upload.wikimedia.org/wikipedia/commons/thumb/9/96/Microsoft_logo_(2012).svg/2000px-Microsoft_logo_(2012).svg.png"/>
          <p:cNvPicPr/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54982" y="-401215"/>
            <a:ext cx="1143000" cy="2463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3183684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4" r:id="rId14"/>
  </p:sldLayoutIdLst>
  <p:txStyles>
    <p:titleStyle>
      <a:lvl1pPr algn="l" defTabSz="914225" rtl="0" eaLnBrk="1" latinLnBrk="0" hangingPunct="1">
        <a:lnSpc>
          <a:spcPct val="90000"/>
        </a:lnSpc>
        <a:spcBef>
          <a:spcPct val="0"/>
        </a:spcBef>
        <a:buNone/>
        <a:defRPr sz="5399" kern="1200">
          <a:solidFill>
            <a:schemeClr val="bg1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556" indent="-228556" algn="l" defTabSz="914225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668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781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599893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005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11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30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4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5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9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1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74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8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69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58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20" r:id="rId5"/>
    <p:sldLayoutId id="2147483723" r:id="rId6"/>
    <p:sldLayoutId id="2147483724" r:id="rId7"/>
    <p:sldLayoutId id="2147483757" r:id="rId8"/>
    <p:sldLayoutId id="2147483758" r:id="rId9"/>
    <p:sldLayoutId id="2147483817" r:id="rId10"/>
    <p:sldLayoutId id="2147483818" r:id="rId11"/>
    <p:sldLayoutId id="2147483819" r:id="rId12"/>
    <p:sldLayoutId id="2147483820" r:id="rId13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1" cy="164464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25052" y="1906414"/>
            <a:ext cx="4214127" cy="40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00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  <p:sldLayoutId id="2147483750" r:id="rId25"/>
    <p:sldLayoutId id="2147483751" r:id="rId26"/>
    <p:sldLayoutId id="2147483752" r:id="rId27"/>
    <p:sldLayoutId id="2147483753" r:id="rId28"/>
    <p:sldLayoutId id="2147483754" r:id="rId29"/>
    <p:sldLayoutId id="2147483755" r:id="rId30"/>
    <p:sldLayoutId id="2147483814" r:id="rId31"/>
    <p:sldLayoutId id="2147483815" r:id="rId32"/>
    <p:sldLayoutId id="2147483816" r:id="rId33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31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13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35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198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80" y="3012392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25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  <p:sldLayoutId id="2147483842" r:id="rId20"/>
    <p:sldLayoutId id="2147483843" r:id="rId21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30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59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088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1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147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4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1" y="1435505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88988" y="2942645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1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94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</p:sldLayoutIdLst>
  <p:transition>
    <p:fade/>
  </p:transition>
  <p:hf sldNum="0" hdr="0" ftr="0" dt="0"/>
  <p:txStyles>
    <p:titleStyle>
      <a:lvl1pPr algn="l" defTabSz="932462" rtl="0" eaLnBrk="1" latinLnBrk="0" hangingPunct="1">
        <a:lnSpc>
          <a:spcPct val="100000"/>
        </a:lnSpc>
        <a:spcBef>
          <a:spcPct val="0"/>
        </a:spcBef>
        <a:buNone/>
        <a:defRPr lang="en-US" sz="3599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31" marR="0" indent="-22853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063" marR="0" indent="-22853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028" marR="0" indent="-199965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710" marR="0" indent="-180921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631" marR="0" indent="-168225" algn="l" defTabSz="93246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270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3030503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96734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962966" indent="-233116" algn="l" defTabSz="932462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66231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32462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98693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64924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331156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97387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63618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729850" algn="l" defTabSz="932462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jpg"/><Relationship Id="rId18" Type="http://schemas.openxmlformats.org/officeDocument/2006/relationships/image" Target="../media/image86.jpeg"/><Relationship Id="rId3" Type="http://schemas.openxmlformats.org/officeDocument/2006/relationships/image" Target="../media/image49.emf"/><Relationship Id="rId7" Type="http://schemas.openxmlformats.org/officeDocument/2006/relationships/image" Target="../media/image75.svg"/><Relationship Id="rId12" Type="http://schemas.openxmlformats.org/officeDocument/2006/relationships/image" Target="../media/image80.jpeg"/><Relationship Id="rId17" Type="http://schemas.openxmlformats.org/officeDocument/2006/relationships/image" Target="../media/image85.jpeg"/><Relationship Id="rId2" Type="http://schemas.openxmlformats.org/officeDocument/2006/relationships/image" Target="../media/image71.png"/><Relationship Id="rId16" Type="http://schemas.openxmlformats.org/officeDocument/2006/relationships/image" Target="../media/image84.jpeg"/><Relationship Id="rId1" Type="http://schemas.openxmlformats.org/officeDocument/2006/relationships/slideLayout" Target="../slideLayouts/slideLayout314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svg"/><Relationship Id="rId15" Type="http://schemas.openxmlformats.org/officeDocument/2006/relationships/image" Target="../media/image83.jpeg"/><Relationship Id="rId10" Type="http://schemas.openxmlformats.org/officeDocument/2006/relationships/image" Target="../media/image78.jpeg"/><Relationship Id="rId19" Type="http://schemas.openxmlformats.org/officeDocument/2006/relationships/image" Target="../media/image87.jpeg"/><Relationship Id="rId4" Type="http://schemas.openxmlformats.org/officeDocument/2006/relationships/image" Target="../media/image72.png"/><Relationship Id="rId9" Type="http://schemas.openxmlformats.org/officeDocument/2006/relationships/image" Target="../media/image77.jpeg"/><Relationship Id="rId14" Type="http://schemas.openxmlformats.org/officeDocument/2006/relationships/image" Target="../media/image8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image" Target="../media/image91.png"/><Relationship Id="rId7" Type="http://schemas.openxmlformats.org/officeDocument/2006/relationships/image" Target="../media/image9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4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0.xml"/><Relationship Id="rId4" Type="http://schemas.openxmlformats.org/officeDocument/2006/relationships/image" Target="../media/image9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svg"/><Relationship Id="rId3" Type="http://schemas.openxmlformats.org/officeDocument/2006/relationships/image" Target="../media/image97.emf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0.xml"/><Relationship Id="rId6" Type="http://schemas.openxmlformats.org/officeDocument/2006/relationships/image" Target="../media/image73.svg"/><Relationship Id="rId5" Type="http://schemas.openxmlformats.org/officeDocument/2006/relationships/image" Target="../media/image99.png"/><Relationship Id="rId4" Type="http://schemas.openxmlformats.org/officeDocument/2006/relationships/image" Target="../media/image49.emf"/><Relationship Id="rId9" Type="http://schemas.openxmlformats.org/officeDocument/2006/relationships/image" Target="../media/image10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data-factory/connector-azure-sql-data-warehouse#use-polybase-to-load-data-into-azure-sql-data-warehouse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allery.technet.microsoft.com/Overview-of-Azure-c1be3942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2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emf"/><Relationship Id="rId13" Type="http://schemas.openxmlformats.org/officeDocument/2006/relationships/image" Target="../media/image112.emf"/><Relationship Id="rId3" Type="http://schemas.openxmlformats.org/officeDocument/2006/relationships/image" Target="../media/image103.emf"/><Relationship Id="rId7" Type="http://schemas.openxmlformats.org/officeDocument/2006/relationships/image" Target="../media/image107.emf"/><Relationship Id="rId12" Type="http://schemas.openxmlformats.org/officeDocument/2006/relationships/image" Target="../media/image111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06.emf"/><Relationship Id="rId11" Type="http://schemas.openxmlformats.org/officeDocument/2006/relationships/image" Target="../media/image110.emf"/><Relationship Id="rId5" Type="http://schemas.openxmlformats.org/officeDocument/2006/relationships/image" Target="../media/image105.emf"/><Relationship Id="rId15" Type="http://schemas.openxmlformats.org/officeDocument/2006/relationships/image" Target="../media/image92.png"/><Relationship Id="rId10" Type="http://schemas.openxmlformats.org/officeDocument/2006/relationships/image" Target="../media/image109.emf"/><Relationship Id="rId4" Type="http://schemas.openxmlformats.org/officeDocument/2006/relationships/image" Target="../media/image104.emf"/><Relationship Id="rId9" Type="http://schemas.openxmlformats.org/officeDocument/2006/relationships/image" Target="../media/image97.emf"/><Relationship Id="rId14" Type="http://schemas.openxmlformats.org/officeDocument/2006/relationships/image" Target="../media/image9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emf"/><Relationship Id="rId13" Type="http://schemas.openxmlformats.org/officeDocument/2006/relationships/image" Target="../media/image97.emf"/><Relationship Id="rId18" Type="http://schemas.openxmlformats.org/officeDocument/2006/relationships/image" Target="../media/image91.png"/><Relationship Id="rId3" Type="http://schemas.openxmlformats.org/officeDocument/2006/relationships/image" Target="../media/image103.emf"/><Relationship Id="rId7" Type="http://schemas.openxmlformats.org/officeDocument/2006/relationships/image" Target="../media/image100.emf"/><Relationship Id="rId12" Type="http://schemas.openxmlformats.org/officeDocument/2006/relationships/image" Target="../media/image108.emf"/><Relationship Id="rId17" Type="http://schemas.openxmlformats.org/officeDocument/2006/relationships/image" Target="../media/image92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115.emf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13.emf"/><Relationship Id="rId11" Type="http://schemas.openxmlformats.org/officeDocument/2006/relationships/image" Target="../media/image107.emf"/><Relationship Id="rId5" Type="http://schemas.openxmlformats.org/officeDocument/2006/relationships/image" Target="../media/image105.emf"/><Relationship Id="rId15" Type="http://schemas.openxmlformats.org/officeDocument/2006/relationships/image" Target="../media/image110.emf"/><Relationship Id="rId10" Type="http://schemas.openxmlformats.org/officeDocument/2006/relationships/image" Target="../media/image106.emf"/><Relationship Id="rId4" Type="http://schemas.openxmlformats.org/officeDocument/2006/relationships/image" Target="../media/image104.emf"/><Relationship Id="rId9" Type="http://schemas.openxmlformats.org/officeDocument/2006/relationships/image" Target="../media/image114.emf"/><Relationship Id="rId14" Type="http://schemas.openxmlformats.org/officeDocument/2006/relationships/image" Target="../media/image109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1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jpg"/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49.emf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5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12" Type="http://schemas.openxmlformats.org/officeDocument/2006/relationships/image" Target="../media/image61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55.sv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svg"/><Relationship Id="rId4" Type="http://schemas.openxmlformats.org/officeDocument/2006/relationships/image" Target="../media/image53.svg"/><Relationship Id="rId9" Type="http://schemas.openxmlformats.org/officeDocument/2006/relationships/image" Target="../media/image5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6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027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2B4B5BD-5D8E-4F06-87B6-19D6E846C076}"/>
              </a:ext>
            </a:extLst>
          </p:cNvPr>
          <p:cNvSpPr/>
          <p:nvPr/>
        </p:nvSpPr>
        <p:spPr bwMode="auto">
          <a:xfrm>
            <a:off x="5434592" y="4248784"/>
            <a:ext cx="2641466" cy="2492237"/>
          </a:xfrm>
          <a:prstGeom prst="roundRect">
            <a:avLst/>
          </a:prstGeom>
          <a:solidFill>
            <a:schemeClr val="bg1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1" i="0" u="none" strike="noStrike" kern="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0" name="Freeform 5">
            <a:extLst>
              <a:ext uri="{FF2B5EF4-FFF2-40B4-BE49-F238E27FC236}">
                <a16:creationId xmlns:a16="http://schemas.microsoft.com/office/drawing/2014/main" id="{8DAA641D-66AF-48AF-BEF1-BD5E3652492F}"/>
              </a:ext>
            </a:extLst>
          </p:cNvPr>
          <p:cNvSpPr>
            <a:spLocks noChangeAspect="1"/>
          </p:cNvSpPr>
          <p:nvPr/>
        </p:nvSpPr>
        <p:spPr bwMode="black">
          <a:xfrm>
            <a:off x="8943798" y="5599953"/>
            <a:ext cx="3066301" cy="1216973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5984399" y="142109"/>
            <a:ext cx="5378549" cy="216636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731420" y="1636149"/>
            <a:ext cx="4196176" cy="1143425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zure Data Factory v2 Servi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9EA186-9883-431C-AA23-13E9D056A966}"/>
              </a:ext>
            </a:extLst>
          </p:cNvPr>
          <p:cNvSpPr txBox="1"/>
          <p:nvPr/>
        </p:nvSpPr>
        <p:spPr>
          <a:xfrm>
            <a:off x="6494032" y="1902421"/>
            <a:ext cx="4719513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0928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1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404040"/>
                    </a:gs>
                    <a:gs pos="3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Scheduling | Orchestration | Monitoring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 flipH="1">
            <a:off x="8961735" y="1439279"/>
            <a:ext cx="1" cy="1778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731420" y="841876"/>
            <a:ext cx="4196176" cy="51862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1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404040"/>
                    </a:gs>
                    <a:gs pos="3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uthoring  | Monitoring/Mgm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3D93E9B-7D38-4A37-9797-D94A972233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2846" y="899996"/>
            <a:ext cx="382603" cy="362644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2B221E4C-07E8-418B-9E78-834B1C106DAF}"/>
              </a:ext>
            </a:extLst>
          </p:cNvPr>
          <p:cNvSpPr/>
          <p:nvPr/>
        </p:nvSpPr>
        <p:spPr bwMode="auto">
          <a:xfrm>
            <a:off x="6059102" y="4536049"/>
            <a:ext cx="1209553" cy="536396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Self Hosted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Integration Runtime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87975" y="4066146"/>
            <a:ext cx="3066301" cy="160160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1030F99-B296-4B8D-BA2B-2719DB1D75A4}"/>
              </a:ext>
            </a:extLst>
          </p:cNvPr>
          <p:cNvSpPr txBox="1"/>
          <p:nvPr/>
        </p:nvSpPr>
        <p:spPr>
          <a:xfrm>
            <a:off x="9687997" y="5168818"/>
            <a:ext cx="1328860" cy="5112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Svcs 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882F6FEA-6ADE-4725-89D7-C4DB5DF6BD1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</a:blip>
          <a:stretch>
            <a:fillRect/>
          </a:stretch>
        </p:blipFill>
        <p:spPr>
          <a:xfrm>
            <a:off x="5536187" y="5286904"/>
            <a:ext cx="674300" cy="1334256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C19C66A0-EE66-4B13-B748-6018CDE0DDA7}"/>
              </a:ext>
            </a:extLst>
          </p:cNvPr>
          <p:cNvSpPr txBox="1"/>
          <p:nvPr/>
        </p:nvSpPr>
        <p:spPr>
          <a:xfrm>
            <a:off x="6112084" y="5474721"/>
            <a:ext cx="2103660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On Prem Apps &amp; Data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9702196" y="4424925"/>
            <a:ext cx="1567135" cy="536396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Azure</a:t>
            </a:r>
            <a:r>
              <a:rPr kumimoji="0" lang="en-US" sz="117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Integration </a:t>
            </a:r>
          </a:p>
          <a:p>
            <a:pPr marL="0" marR="0" lvl="0" indent="0" algn="ctr" defTabSz="1242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Runtime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DA2F3E5-6B52-4C08-BBF6-634DDA94B45F}"/>
              </a:ext>
            </a:extLst>
          </p:cNvPr>
          <p:cNvGrpSpPr/>
          <p:nvPr/>
        </p:nvGrpSpPr>
        <p:grpSpPr>
          <a:xfrm>
            <a:off x="6670234" y="4030453"/>
            <a:ext cx="1031621" cy="409182"/>
            <a:chOff x="1570037" y="2467828"/>
            <a:chExt cx="1052307" cy="41738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9D55D25-55CA-45FE-9FD9-6CC47F4EDB69}"/>
                </a:ext>
              </a:extLst>
            </p:cNvPr>
            <p:cNvSpPr/>
            <p:nvPr/>
          </p:nvSpPr>
          <p:spPr bwMode="auto">
            <a:xfrm>
              <a:off x="1715190" y="2572174"/>
              <a:ext cx="762000" cy="20869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8" name="Graphic 37" descr="Table">
              <a:extLst>
                <a:ext uri="{FF2B5EF4-FFF2-40B4-BE49-F238E27FC236}">
                  <a16:creationId xmlns:a16="http://schemas.microsoft.com/office/drawing/2014/main" id="{6B4F9E13-A5DD-4336-BA97-75C8652A7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570037" y="2467828"/>
              <a:ext cx="1052307" cy="417387"/>
            </a:xfrm>
            <a:prstGeom prst="rect">
              <a:avLst/>
            </a:prstGeom>
          </p:spPr>
        </p:pic>
      </p:grpSp>
      <p:pic>
        <p:nvPicPr>
          <p:cNvPr id="42" name="Graphic 41" descr="Bonfire">
            <a:extLst>
              <a:ext uri="{FF2B5EF4-FFF2-40B4-BE49-F238E27FC236}">
                <a16:creationId xmlns:a16="http://schemas.microsoft.com/office/drawing/2014/main" id="{97B86723-0FB8-42F6-B7A4-BD7C3C54A1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82668" y="3725101"/>
            <a:ext cx="413019" cy="413019"/>
          </a:xfrm>
          <a:prstGeom prst="rect">
            <a:avLst/>
          </a:prstGeom>
        </p:spPr>
      </p:pic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241560" y="182116"/>
            <a:ext cx="467743" cy="7987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241560" y="518651"/>
            <a:ext cx="48028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603473" y="-63348"/>
            <a:ext cx="4196763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583122" y="279970"/>
            <a:ext cx="4196763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Data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F7A8F24-B21A-40DD-94C6-BF4CB3875348}"/>
              </a:ext>
            </a:extLst>
          </p:cNvPr>
          <p:cNvCxnSpPr>
            <a:cxnSpLocks/>
            <a:stCxn id="29" idx="0"/>
            <a:endCxn id="17" idx="2"/>
          </p:cNvCxnSpPr>
          <p:nvPr/>
        </p:nvCxnSpPr>
        <p:spPr>
          <a:xfrm flipH="1" flipV="1">
            <a:off x="8829508" y="2779574"/>
            <a:ext cx="1656256" cy="164535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4CED6A6-F53E-4397-9639-240C0B56D184}"/>
              </a:ext>
            </a:extLst>
          </p:cNvPr>
          <p:cNvCxnSpPr>
            <a:cxnSpLocks/>
            <a:stCxn id="27" idx="0"/>
            <a:endCxn id="17" idx="2"/>
          </p:cNvCxnSpPr>
          <p:nvPr/>
        </p:nvCxnSpPr>
        <p:spPr>
          <a:xfrm flipV="1">
            <a:off x="6663879" y="2779574"/>
            <a:ext cx="2165630" cy="175647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7261494" y="2267520"/>
            <a:ext cx="1921341" cy="414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7580496" y="2433620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7997140" y="2429612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8429617" y="2338479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8429617" y="2540785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7811108" y="2486713"/>
            <a:ext cx="186032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246461" y="2395580"/>
            <a:ext cx="183156" cy="10462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224180" y="2486713"/>
            <a:ext cx="205437" cy="111173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8823079" y="2537586"/>
            <a:ext cx="227040" cy="11420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8673674" y="2608183"/>
            <a:ext cx="15514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4DE9E213-8A65-4530-A23F-78AC4A9B9D14}"/>
              </a:ext>
            </a:extLst>
          </p:cNvPr>
          <p:cNvSpPr/>
          <p:nvPr/>
        </p:nvSpPr>
        <p:spPr bwMode="auto">
          <a:xfrm>
            <a:off x="9427855" y="2264447"/>
            <a:ext cx="963967" cy="414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SSIS Package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endCxn id="27" idx="3"/>
          </p:cNvCxnSpPr>
          <p:nvPr/>
        </p:nvCxnSpPr>
        <p:spPr>
          <a:xfrm flipH="1" flipV="1">
            <a:off x="7268655" y="4804247"/>
            <a:ext cx="1657781" cy="81966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87F235D6-C9D6-4134-8F25-3D566BA3C7B5}"/>
              </a:ext>
            </a:extLst>
          </p:cNvPr>
          <p:cNvCxnSpPr>
            <a:cxnSpLocks/>
            <a:endCxn id="27" idx="2"/>
          </p:cNvCxnSpPr>
          <p:nvPr/>
        </p:nvCxnSpPr>
        <p:spPr>
          <a:xfrm flipH="1" flipV="1">
            <a:off x="6663879" y="5072446"/>
            <a:ext cx="6356" cy="45482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E8D658E-5222-4EA5-A452-5AA9AA49C4D8}"/>
              </a:ext>
            </a:extLst>
          </p:cNvPr>
          <p:cNvGrpSpPr/>
          <p:nvPr/>
        </p:nvGrpSpPr>
        <p:grpSpPr>
          <a:xfrm>
            <a:off x="10985615" y="4976064"/>
            <a:ext cx="138282" cy="868618"/>
            <a:chOff x="5868071" y="4976064"/>
            <a:chExt cx="138282" cy="868618"/>
          </a:xfrm>
        </p:grpSpPr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64200DD0-D3DA-4CB7-B918-33C27B988E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68071" y="4976064"/>
              <a:ext cx="0" cy="868618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83D0E7C0-5B90-445F-9EB8-2D022FB2918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996526" y="4976065"/>
              <a:ext cx="9827" cy="862947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A1648413-F9FF-4CB3-92FF-125136A3EC96}"/>
              </a:ext>
            </a:extLst>
          </p:cNvPr>
          <p:cNvCxnSpPr>
            <a:cxnSpLocks/>
          </p:cNvCxnSpPr>
          <p:nvPr/>
        </p:nvCxnSpPr>
        <p:spPr>
          <a:xfrm flipH="1" flipV="1">
            <a:off x="6509902" y="5100045"/>
            <a:ext cx="5302" cy="427222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7268619" y="2269029"/>
            <a:ext cx="1554459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rPr>
              <a:t>Pipeline</a:t>
            </a:r>
          </a:p>
        </p:txBody>
      </p:sp>
      <p:pic>
        <p:nvPicPr>
          <p:cNvPr id="47" name="Picture 8" descr="Image result for Amazon AWS">
            <a:extLst>
              <a:ext uri="{FF2B5EF4-FFF2-40B4-BE49-F238E27FC236}">
                <a16:creationId xmlns:a16="http://schemas.microsoft.com/office/drawing/2014/main" id="{AED0228B-4662-48D0-A884-3AD0D6B01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23835" y="6510226"/>
            <a:ext cx="611377" cy="221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B59F154E-2E9A-4649-931F-2488C923D36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1714" y="6254697"/>
            <a:ext cx="524811" cy="366463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58ACCCB9-6A0C-46BD-BC00-2FBB592D437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01382" y="6273040"/>
            <a:ext cx="628713" cy="24676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A8019C1-297B-46D4-8B9C-D0E410E9EEB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0089" y="6486522"/>
            <a:ext cx="391592" cy="220270"/>
          </a:xfrm>
          <a:prstGeom prst="rect">
            <a:avLst/>
          </a:prstGeom>
        </p:spPr>
      </p:pic>
      <p:pic>
        <p:nvPicPr>
          <p:cNvPr id="3" name="Picture 2" descr="A drawing of a cartoon character&#10;&#10;Description generated with high confidence">
            <a:extLst>
              <a:ext uri="{FF2B5EF4-FFF2-40B4-BE49-F238E27FC236}">
                <a16:creationId xmlns:a16="http://schemas.microsoft.com/office/drawing/2014/main" id="{661D5180-C214-402E-A2B1-171F6C5B2BB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9968" y="6464977"/>
            <a:ext cx="340285" cy="3448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FA2849-DC78-40EC-93CE-78C45A0F683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134" b="38831"/>
          <a:stretch/>
        </p:blipFill>
        <p:spPr>
          <a:xfrm>
            <a:off x="10513563" y="6621161"/>
            <a:ext cx="554827" cy="131496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9DAB203B-13A8-4B70-8185-01AE4D4DB4CD}"/>
              </a:ext>
            </a:extLst>
          </p:cNvPr>
          <p:cNvSpPr txBox="1"/>
          <p:nvPr/>
        </p:nvSpPr>
        <p:spPr>
          <a:xfrm>
            <a:off x="9687997" y="5839522"/>
            <a:ext cx="2370841" cy="5112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loud &amp; SaaS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919B3A7B-BEA4-4F69-8782-604057891238}"/>
              </a:ext>
            </a:extLst>
          </p:cNvPr>
          <p:cNvCxnSpPr>
            <a:cxnSpLocks/>
          </p:cNvCxnSpPr>
          <p:nvPr/>
        </p:nvCxnSpPr>
        <p:spPr>
          <a:xfrm flipV="1">
            <a:off x="10135236" y="4999466"/>
            <a:ext cx="0" cy="28743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120FF923-36A0-419D-B58E-DEEA26F70C64}"/>
              </a:ext>
            </a:extLst>
          </p:cNvPr>
          <p:cNvCxnSpPr>
            <a:cxnSpLocks/>
          </p:cNvCxnSpPr>
          <p:nvPr/>
        </p:nvCxnSpPr>
        <p:spPr>
          <a:xfrm flipV="1">
            <a:off x="10313435" y="4999467"/>
            <a:ext cx="0" cy="287437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D3ED15F6-0F84-442D-8CD2-54875DB803F8}"/>
              </a:ext>
            </a:extLst>
          </p:cNvPr>
          <p:cNvSpPr txBox="1"/>
          <p:nvPr/>
        </p:nvSpPr>
        <p:spPr>
          <a:xfrm>
            <a:off x="9270782" y="86305"/>
            <a:ext cx="1328860" cy="455857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DACE255A-4F36-4CD2-9B2F-AD025D688BD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299" y="6092685"/>
            <a:ext cx="417206" cy="211384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8B6F3FE8-BFEA-4591-AA21-451E60ECEE1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8121" y="6308417"/>
            <a:ext cx="491661" cy="211383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D0CDDBD7-549E-4A7F-9669-60D1F5A734C5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2336" y="6519800"/>
            <a:ext cx="450827" cy="124766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0045662A-EACD-4287-B00B-BBA6EFD4560D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912" y="6106510"/>
            <a:ext cx="695872" cy="187875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039992B6-A7DD-4668-B9EE-D7684C75AE04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833" y="6360885"/>
            <a:ext cx="690897" cy="131599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D729F4EF-C00B-4F83-AA2C-837980FC49C6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8296" y="6016124"/>
            <a:ext cx="379699" cy="308585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190EB120-CED2-44F4-8F3A-793E51611A56}"/>
              </a:ext>
            </a:extLst>
          </p:cNvPr>
          <p:cNvSpPr/>
          <p:nvPr/>
        </p:nvSpPr>
        <p:spPr bwMode="auto">
          <a:xfrm>
            <a:off x="-5230" y="973"/>
            <a:ext cx="4798562" cy="685702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1CD1D13-991D-44D7-AF80-D9070DC7C3CA}"/>
              </a:ext>
            </a:extLst>
          </p:cNvPr>
          <p:cNvSpPr/>
          <p:nvPr/>
        </p:nvSpPr>
        <p:spPr>
          <a:xfrm>
            <a:off x="245818" y="1187230"/>
            <a:ext cx="4721346" cy="408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Factory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data integration account. 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ocation of orchestration, service metadata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endParaRPr lang="en-US" sz="32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egration Runtime (IR)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F’s execution engine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ree core capabilities: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ipeline activity execution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SIS package execution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2093F48-ED1B-4198-90BE-76F868168C29}"/>
              </a:ext>
            </a:extLst>
          </p:cNvPr>
          <p:cNvSpPr txBox="1">
            <a:spLocks/>
          </p:cNvSpPr>
          <p:nvPr/>
        </p:nvSpPr>
        <p:spPr>
          <a:xfrm>
            <a:off x="209589" y="175258"/>
            <a:ext cx="11023275" cy="64396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20" b="1" spc="-100" dirty="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Architecture</a:t>
            </a:r>
          </a:p>
        </p:txBody>
      </p:sp>
    </p:spTree>
    <p:extLst>
      <p:ext uri="{BB962C8B-B14F-4D97-AF65-F5344CB8AC3E}">
        <p14:creationId xmlns:p14="http://schemas.microsoft.com/office/powerpoint/2010/main" val="247400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svg="http://schemas.microsoft.com/office/drawing/2016/SVG/main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ADF Key Concepts</a:t>
            </a:r>
          </a:p>
        </p:txBody>
      </p:sp>
      <p:pic>
        <p:nvPicPr>
          <p:cNvPr id="7" name="Picture 2" descr="Diagram: Data Factory, a cloud data integration service - Key Concepts">
            <a:extLst>
              <a:ext uri="{FF2B5EF4-FFF2-40B4-BE49-F238E27FC236}">
                <a16:creationId xmlns:a16="http://schemas.microsoft.com/office/drawing/2014/main" id="{BE009E6E-8554-4328-8586-D0CAA6C195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44" y="1996827"/>
            <a:ext cx="11383536" cy="3600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977691-26A4-4B92-99C3-225F3B814A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1083" y="4593502"/>
            <a:ext cx="1675963" cy="3336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17AFA93-B211-49B7-A6E8-C93D678DEF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2165" y="4328602"/>
            <a:ext cx="2919726" cy="1114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126918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53DABB43-3747-4A16-AE3E-6D88AE3A0C03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918"/>
            <a:r>
              <a:rPr lang="en-US" sz="3920" b="1" spc="-100" dirty="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Access all your data – 75+ connectors &amp; grow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EB1C3F-4F91-4090-B20B-170898529B4A}"/>
              </a:ext>
            </a:extLst>
          </p:cNvPr>
          <p:cNvSpPr/>
          <p:nvPr/>
        </p:nvSpPr>
        <p:spPr>
          <a:xfrm>
            <a:off x="174070" y="6358086"/>
            <a:ext cx="45540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26"/>
            <a:r>
              <a:rPr lang="en-US" sz="14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* Supported file formats: CSV, Parquet, AVRO, ORC, JSON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44ED4A2-B967-4AD4-BDC7-2BAA049613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627972"/>
              </p:ext>
            </p:extLst>
          </p:nvPr>
        </p:nvGraphicFramePr>
        <p:xfrm>
          <a:off x="144237" y="1011269"/>
          <a:ext cx="11903526" cy="5234154"/>
        </p:xfrm>
        <a:graphic>
          <a:graphicData uri="http://schemas.openxmlformats.org/drawingml/2006/table">
            <a:tbl>
              <a:tblPr firstRow="1" firstCol="1" bandRow="1"/>
              <a:tblGrid>
                <a:gridCol w="1432695">
                  <a:extLst>
                    <a:ext uri="{9D8B030D-6E8A-4147-A177-3AD203B41FA5}">
                      <a16:colId xmlns:a16="http://schemas.microsoft.com/office/drawing/2014/main" val="1428052160"/>
                    </a:ext>
                  </a:extLst>
                </a:gridCol>
                <a:gridCol w="1432695">
                  <a:extLst>
                    <a:ext uri="{9D8B030D-6E8A-4147-A177-3AD203B41FA5}">
                      <a16:colId xmlns:a16="http://schemas.microsoft.com/office/drawing/2014/main" val="1942356298"/>
                    </a:ext>
                  </a:extLst>
                </a:gridCol>
                <a:gridCol w="1432695">
                  <a:extLst>
                    <a:ext uri="{9D8B030D-6E8A-4147-A177-3AD203B41FA5}">
                      <a16:colId xmlns:a16="http://schemas.microsoft.com/office/drawing/2014/main" val="1067117890"/>
                    </a:ext>
                  </a:extLst>
                </a:gridCol>
                <a:gridCol w="1432695">
                  <a:extLst>
                    <a:ext uri="{9D8B030D-6E8A-4147-A177-3AD203B41FA5}">
                      <a16:colId xmlns:a16="http://schemas.microsoft.com/office/drawing/2014/main" val="121094141"/>
                    </a:ext>
                  </a:extLst>
                </a:gridCol>
                <a:gridCol w="1432695">
                  <a:extLst>
                    <a:ext uri="{9D8B030D-6E8A-4147-A177-3AD203B41FA5}">
                      <a16:colId xmlns:a16="http://schemas.microsoft.com/office/drawing/2014/main" val="4068037210"/>
                    </a:ext>
                  </a:extLst>
                </a:gridCol>
                <a:gridCol w="1874661">
                  <a:extLst>
                    <a:ext uri="{9D8B030D-6E8A-4147-A177-3AD203B41FA5}">
                      <a16:colId xmlns:a16="http://schemas.microsoft.com/office/drawing/2014/main" val="1058378202"/>
                    </a:ext>
                  </a:extLst>
                </a:gridCol>
                <a:gridCol w="1432695">
                  <a:extLst>
                    <a:ext uri="{9D8B030D-6E8A-4147-A177-3AD203B41FA5}">
                      <a16:colId xmlns:a16="http://schemas.microsoft.com/office/drawing/2014/main" val="2589508321"/>
                    </a:ext>
                  </a:extLst>
                </a:gridCol>
                <a:gridCol w="1432695">
                  <a:extLst>
                    <a:ext uri="{9D8B030D-6E8A-4147-A177-3AD203B41FA5}">
                      <a16:colId xmlns:a16="http://schemas.microsoft.com/office/drawing/2014/main" val="516033928"/>
                    </a:ext>
                  </a:extLst>
                </a:gridCol>
              </a:tblGrid>
              <a:tr h="4031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zure (12)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atabase (24)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ile Storage (5)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SQL (3)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rvices and Apps (28)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neric (3)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2618876"/>
                  </a:ext>
                </a:extLst>
              </a:tr>
              <a:tr h="2745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b Storage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azon Redshift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ezza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azon S3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sandra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azon MWS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racle Service Cloud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TTP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9310338"/>
                  </a:ext>
                </a:extLst>
              </a:tr>
              <a:tr h="3590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mos DB (SQL API)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B2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cle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le System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chbase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on Data Service for Apps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ypal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ata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105629"/>
                  </a:ext>
                </a:extLst>
              </a:tr>
              <a:tr h="46987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Lake Storage Gen1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ill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oenix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TP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goDB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cur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ickBooks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BC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8939672"/>
                  </a:ext>
                </a:extLst>
              </a:tr>
              <a:tr h="37584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Lake Storage Gen2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ogle BigQuery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greSQL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DFS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ynamics 365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esforce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1467894"/>
                  </a:ext>
                </a:extLst>
              </a:tr>
              <a:tr h="3590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B for MySQL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eenplum 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to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FTP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ynamics CRM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esforce Marketing Cloud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83468"/>
                  </a:ext>
                </a:extLst>
              </a:tr>
              <a:tr h="2694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B for PostgreSQL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Base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BW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 Historian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esforce Service Cloud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48339"/>
                  </a:ext>
                </a:extLst>
              </a:tr>
              <a:tr h="2605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le Storage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ve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HANA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5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oogle AdWords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C4C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67103"/>
                  </a:ext>
                </a:extLst>
              </a:tr>
              <a:tr h="26829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QL DB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la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rk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9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bSpot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ECC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7082417"/>
                  </a:ext>
                </a:extLst>
              </a:tr>
              <a:tr h="359087">
                <a:tc>
                  <a:txBody>
                    <a:bodyPr/>
                    <a:lstStyle/>
                    <a:p>
                      <a:pPr marL="0" marR="0" lvl="0" indent="0" algn="ctr" defTabSz="9139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QL DB Managed Instance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ix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QL Server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ra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Now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6804401"/>
                  </a:ext>
                </a:extLst>
              </a:tr>
              <a:tr h="2702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QL DW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DB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base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gento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opify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097501"/>
                  </a:ext>
                </a:extLst>
              </a:tr>
              <a:tr h="2702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arch Index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crosoft Access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adata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quare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91100"/>
                  </a:ext>
                </a:extLst>
              </a:tr>
              <a:tr h="35444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le Storage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SQL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tica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ffice 365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b table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947669"/>
                  </a:ext>
                </a:extLst>
              </a:tr>
              <a:tr h="37015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cle Eloqua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ero</a:t>
                      </a: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569666"/>
                  </a:ext>
                </a:extLst>
              </a:tr>
              <a:tr h="438458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cle Responsys</a:t>
                      </a: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oh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47" marR="3847" marT="38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47" marR="3847" marT="3847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53519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9187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53DABB43-3747-4A16-AE3E-6D88AE3A0C03}"/>
              </a:ext>
            </a:extLst>
          </p:cNvPr>
          <p:cNvSpPr txBox="1">
            <a:spLocks/>
          </p:cNvSpPr>
          <p:nvPr/>
        </p:nvSpPr>
        <p:spPr>
          <a:xfrm>
            <a:off x="197400" y="155517"/>
            <a:ext cx="11071047" cy="115048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918"/>
            <a:r>
              <a:rPr lang="en-US" sz="3900" b="1" spc="-100" dirty="0">
                <a:ln w="3175">
                  <a:noFill/>
                </a:ln>
                <a:solidFill>
                  <a:srgbClr val="0078D7"/>
                </a:solidFill>
                <a:latin typeface="Segoe UI Light (Headings)"/>
                <a:ea typeface="+mn-ea"/>
                <a:cs typeface="Segoe UI" pitchFamily="34" charset="0"/>
              </a:rPr>
              <a:t>Transformation through Analytics Engin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00FADB-CAC6-4C36-B477-85442258E8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5586" y="1725926"/>
            <a:ext cx="1400086" cy="89953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F635D79-C936-4D76-9527-C3B7EA732402}"/>
              </a:ext>
            </a:extLst>
          </p:cNvPr>
          <p:cNvSpPr txBox="1"/>
          <p:nvPr/>
        </p:nvSpPr>
        <p:spPr>
          <a:xfrm>
            <a:off x="3556001" y="2639894"/>
            <a:ext cx="4579256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HDInsight (on-demand/BYOC)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Hive, Pig, Spark, MapReduce, Streaming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C4DB65-9143-4053-B6DD-6A02747D01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6135" y="1721957"/>
            <a:ext cx="1059825" cy="90747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D23CE4A-A0E7-4711-86F4-8C5430D15B37}"/>
              </a:ext>
            </a:extLst>
          </p:cNvPr>
          <p:cNvSpPr txBox="1"/>
          <p:nvPr/>
        </p:nvSpPr>
        <p:spPr>
          <a:xfrm>
            <a:off x="783101" y="2639894"/>
            <a:ext cx="2805892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Databrick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Notebook, Jar, Python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A43B6AC-54C5-4C1B-9532-422012AB69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0568" y="4058879"/>
            <a:ext cx="1210959" cy="96222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F1168C9-8EAD-40C4-A7CE-6B5DC2854ADC}"/>
              </a:ext>
            </a:extLst>
          </p:cNvPr>
          <p:cNvSpPr txBox="1"/>
          <p:nvPr/>
        </p:nvSpPr>
        <p:spPr>
          <a:xfrm>
            <a:off x="611447" y="4962243"/>
            <a:ext cx="3149201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Data Lake Analytic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Data Lake Analytics U-SQL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C56A675-1BA0-4379-A582-2FEB753271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4772" y="4081450"/>
            <a:ext cx="1021714" cy="91708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F5A5711-CE44-4335-B725-487E95488C52}"/>
              </a:ext>
            </a:extLst>
          </p:cNvPr>
          <p:cNvSpPr txBox="1"/>
          <p:nvPr/>
        </p:nvSpPr>
        <p:spPr>
          <a:xfrm>
            <a:off x="4056733" y="4962243"/>
            <a:ext cx="3577792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Machine Learn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Batch Execution, Update Resourc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94AE0EE-5807-4526-BE54-CAB10424AD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4990" y="4042634"/>
            <a:ext cx="1140789" cy="99471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C778084-802A-4046-892A-C70A4AE47332}"/>
              </a:ext>
            </a:extLst>
          </p:cNvPr>
          <p:cNvSpPr txBox="1"/>
          <p:nvPr/>
        </p:nvSpPr>
        <p:spPr>
          <a:xfrm>
            <a:off x="8302322" y="4962243"/>
            <a:ext cx="2966125" cy="8986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Batch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Custom Executab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8960E92-2E53-4E8B-B028-32A41D4481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42496" y="1678338"/>
            <a:ext cx="1085777" cy="99471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DE0DDFF-4A74-4E85-8D31-EEBB1CFCF938}"/>
              </a:ext>
            </a:extLst>
          </p:cNvPr>
          <p:cNvSpPr txBox="1"/>
          <p:nvPr/>
        </p:nvSpPr>
        <p:spPr>
          <a:xfrm>
            <a:off x="7983386" y="2639894"/>
            <a:ext cx="3603996" cy="926367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zure SQL DB/DW, SQL Server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tored Procedure</a:t>
            </a:r>
          </a:p>
        </p:txBody>
      </p:sp>
    </p:spTree>
    <p:extLst>
      <p:ext uri="{BB962C8B-B14F-4D97-AF65-F5344CB8AC3E}">
        <p14:creationId xmlns:p14="http://schemas.microsoft.com/office/powerpoint/2010/main" val="3076577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8059E029-6125-4656-A2FF-A93D7EA22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024" y="154197"/>
            <a:ext cx="10514108" cy="1150945"/>
          </a:xfrm>
        </p:spPr>
        <p:txBody>
          <a:bodyPr>
            <a:normAutofit/>
          </a:bodyPr>
          <a:lstStyle/>
          <a:p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Control Flow</a:t>
            </a:r>
          </a:p>
        </p:txBody>
      </p:sp>
      <p:sp>
        <p:nvSpPr>
          <p:cNvPr id="79" name="Rectangle 78"/>
          <p:cNvSpPr/>
          <p:nvPr/>
        </p:nvSpPr>
        <p:spPr>
          <a:xfrm>
            <a:off x="1952121" y="3770219"/>
            <a:ext cx="6970601" cy="257983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81" name="Straight Arrow Connector 80"/>
          <p:cNvCxnSpPr>
            <a:endCxn id="82" idx="1"/>
          </p:cNvCxnSpPr>
          <p:nvPr/>
        </p:nvCxnSpPr>
        <p:spPr>
          <a:xfrm>
            <a:off x="1619482" y="4641832"/>
            <a:ext cx="1550843" cy="0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3170325" y="4272370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Activity 1</a:t>
            </a:r>
            <a:endParaRPr lang="en-US" sz="1568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5314130" y="4272370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Activity 2</a:t>
            </a:r>
          </a:p>
        </p:txBody>
      </p:sp>
      <p:cxnSp>
        <p:nvCxnSpPr>
          <p:cNvPr id="84" name="Straight Arrow Connector 83"/>
          <p:cNvCxnSpPr/>
          <p:nvPr/>
        </p:nvCxnSpPr>
        <p:spPr>
          <a:xfrm>
            <a:off x="4321043" y="4684393"/>
            <a:ext cx="993088" cy="1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 flipV="1">
            <a:off x="6464849" y="4684392"/>
            <a:ext cx="630302" cy="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7214133" y="4194009"/>
            <a:ext cx="1150719" cy="294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Activity 3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87" name="Straight Arrow Connector 86"/>
          <p:cNvCxnSpPr>
            <a:endCxn id="88" idx="1"/>
          </p:cNvCxnSpPr>
          <p:nvPr/>
        </p:nvCxnSpPr>
        <p:spPr>
          <a:xfrm>
            <a:off x="4321044" y="4684393"/>
            <a:ext cx="958109" cy="1139681"/>
          </a:xfrm>
          <a:prstGeom prst="straightConnector1">
            <a:avLst/>
          </a:prstGeom>
          <a:ln w="254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/>
        </p:nvSpPr>
        <p:spPr>
          <a:xfrm>
            <a:off x="5279152" y="5454613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>
                <a:solidFill>
                  <a:srgbClr val="FFFFFF"/>
                </a:solidFill>
                <a:latin typeface="Segoe UI Semilight"/>
              </a:rPr>
              <a:t>“On Error” Activity 1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4334408" y="4194010"/>
            <a:ext cx="1098704" cy="531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Success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286067" y="5186483"/>
            <a:ext cx="781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 dirty="0">
                <a:solidFill>
                  <a:srgbClr val="353535"/>
                </a:solidFill>
                <a:latin typeface="Segoe UI Semilight"/>
              </a:rPr>
              <a:t>Error, </a:t>
            </a:r>
            <a:r>
              <a:rPr lang="en-US" sz="1400" i="1" dirty="0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 dirty="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866267" y="3428522"/>
            <a:ext cx="1515901" cy="312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My Pipeline 1</a:t>
            </a:r>
          </a:p>
        </p:txBody>
      </p:sp>
      <p:cxnSp>
        <p:nvCxnSpPr>
          <p:cNvPr id="92" name="Straight Arrow Connector 91"/>
          <p:cNvCxnSpPr/>
          <p:nvPr/>
        </p:nvCxnSpPr>
        <p:spPr>
          <a:xfrm flipV="1">
            <a:off x="6429871" y="5824074"/>
            <a:ext cx="657779" cy="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/>
          <p:nvPr/>
        </p:nvSpPr>
        <p:spPr>
          <a:xfrm>
            <a:off x="7064532" y="5454613"/>
            <a:ext cx="1150719" cy="738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…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9471283" y="4132683"/>
            <a:ext cx="2309845" cy="222787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95" name="Straight Arrow Connector 94"/>
          <p:cNvCxnSpPr>
            <a:stCxn id="97" idx="3"/>
          </p:cNvCxnSpPr>
          <p:nvPr/>
        </p:nvCxnSpPr>
        <p:spPr>
          <a:xfrm>
            <a:off x="8452525" y="4471029"/>
            <a:ext cx="1045556" cy="775592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9424519" y="3839332"/>
            <a:ext cx="1515901" cy="312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My Pipeline 2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095152" y="3839332"/>
            <a:ext cx="1357373" cy="12633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67"/>
            <a:r>
              <a:rPr lang="en-US" sz="1400" b="1">
                <a:solidFill>
                  <a:srgbClr val="FFFFFF">
                    <a:lumMod val="50000"/>
                  </a:srgbClr>
                </a:solidFill>
                <a:latin typeface="Segoe UI Semilight"/>
              </a:rPr>
              <a:t>For Each…</a:t>
            </a:r>
            <a:endParaRPr lang="en-US" sz="1200">
              <a:solidFill>
                <a:srgbClr val="FFFFFF">
                  <a:lumMod val="50000"/>
                </a:srgbClr>
              </a:solidFill>
              <a:latin typeface="Segoe UI Semilight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7214133" y="4738702"/>
            <a:ext cx="1150719" cy="294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400" b="1">
                <a:solidFill>
                  <a:srgbClr val="FFFFFF"/>
                </a:solidFill>
                <a:latin typeface="Segoe UI Semilight"/>
              </a:rPr>
              <a:t>Activity 4</a:t>
            </a:r>
            <a:endParaRPr lang="en-US" sz="1200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99" name="Straight Arrow Connector 98"/>
          <p:cNvCxnSpPr>
            <a:stCxn id="86" idx="2"/>
            <a:endCxn id="98" idx="0"/>
          </p:cNvCxnSpPr>
          <p:nvPr/>
        </p:nvCxnSpPr>
        <p:spPr>
          <a:xfrm>
            <a:off x="7789492" y="4488864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2013113" y="4161247"/>
            <a:ext cx="1098704" cy="531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/>
            <a:r>
              <a:rPr lang="en-US" sz="1400" i="1">
                <a:solidFill>
                  <a:srgbClr val="353535"/>
                </a:solidFill>
                <a:latin typeface="Segoe UI Semilight"/>
              </a:rPr>
              <a:t>Success, </a:t>
            </a:r>
            <a:r>
              <a:rPr lang="en-US" sz="1400" i="1" err="1">
                <a:solidFill>
                  <a:srgbClr val="353535"/>
                </a:solidFill>
                <a:latin typeface="Segoe UI Semilight"/>
              </a:rPr>
              <a:t>params</a:t>
            </a:r>
            <a:endParaRPr lang="en-US" sz="1400" i="1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49715" y="3994325"/>
            <a:ext cx="1377708" cy="14193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568" b="1" dirty="0">
                <a:solidFill>
                  <a:srgbClr val="FFFFFF"/>
                </a:solidFill>
                <a:latin typeface="Segoe UI Semilight"/>
              </a:rPr>
              <a:t>Trigger</a:t>
            </a:r>
          </a:p>
          <a:p>
            <a:pPr algn="ctr" defTabSz="914367"/>
            <a:endParaRPr lang="en-US" sz="1200" b="1" dirty="0">
              <a:solidFill>
                <a:srgbClr val="FFFFFF"/>
              </a:solidFill>
              <a:latin typeface="Segoe UI Semilight"/>
            </a:endParaRPr>
          </a:p>
          <a:p>
            <a:pPr defTabSz="914367"/>
            <a:endParaRPr lang="en-US" sz="1200" dirty="0">
              <a:solidFill>
                <a:srgbClr val="FFFFFF"/>
              </a:solidFill>
              <a:latin typeface="Segoe UI Semilight"/>
            </a:endParaRPr>
          </a:p>
          <a:p>
            <a:pPr defTabSz="914367"/>
            <a:r>
              <a:rPr lang="en-US" sz="1200" dirty="0">
                <a:solidFill>
                  <a:srgbClr val="FFFFFF"/>
                </a:solidFill>
              </a:rPr>
              <a:t>On Demand</a:t>
            </a:r>
          </a:p>
          <a:p>
            <a:pPr defTabSz="914367"/>
            <a:r>
              <a:rPr lang="en-US" sz="1200" dirty="0">
                <a:solidFill>
                  <a:srgbClr val="FFFFFF"/>
                </a:solidFill>
                <a:latin typeface="Segoe UI Semilight"/>
              </a:rPr>
              <a:t>Scheduled</a:t>
            </a:r>
          </a:p>
          <a:p>
            <a:pPr defTabSz="914367"/>
            <a:r>
              <a:rPr lang="en-US" sz="1200" dirty="0">
                <a:solidFill>
                  <a:srgbClr val="FFFFFF"/>
                </a:solidFill>
                <a:latin typeface="Segoe UI Semilight"/>
              </a:rPr>
              <a:t>Tumbling Window</a:t>
            </a:r>
          </a:p>
          <a:p>
            <a:pPr defTabSz="914367"/>
            <a:r>
              <a:rPr lang="en-US" sz="1200" dirty="0">
                <a:solidFill>
                  <a:srgbClr val="FFFFFF"/>
                </a:solidFill>
                <a:latin typeface="Segoe UI Semilight"/>
              </a:rPr>
              <a:t>Event-based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219048" y="4244905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Activity 1</a:t>
            </a:r>
            <a:endParaRPr lang="en-US" sz="1078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229579" y="4903119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Activity 2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29579" y="5624268"/>
            <a:ext cx="820050" cy="39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r>
              <a:rPr lang="en-US" sz="1078" b="1">
                <a:solidFill>
                  <a:srgbClr val="FFFFFF"/>
                </a:solidFill>
                <a:latin typeface="Segoe UI Semilight"/>
              </a:rPr>
              <a:t>…</a:t>
            </a:r>
            <a:endParaRPr lang="en-US" sz="1029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10626206" y="4641832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10652998" y="5336617"/>
            <a:ext cx="0" cy="249839"/>
          </a:xfrm>
          <a:prstGeom prst="straightConnector1">
            <a:avLst/>
          </a:prstGeom>
          <a:ln w="25400">
            <a:solidFill>
              <a:srgbClr val="107C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5785EB7-2855-41D8-8FCC-C4859C983245}"/>
              </a:ext>
            </a:extLst>
          </p:cNvPr>
          <p:cNvSpPr txBox="1">
            <a:spLocks/>
          </p:cNvSpPr>
          <p:nvPr/>
        </p:nvSpPr>
        <p:spPr>
          <a:xfrm>
            <a:off x="349715" y="943449"/>
            <a:ext cx="11655078" cy="2154436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080" marR="0" indent="-33608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724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1pPr>
            <a:lvl2pPr marL="572581" marR="0" indent="-23650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2pPr>
            <a:lvl3pPr marL="784187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3pPr>
            <a:lvl4pPr marL="1008241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4pPr>
            <a:lvl5pPr marL="1232294" marR="0" indent="-224054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 Semilight" panose="020B0402040204020203" pitchFamily="34" charset="0"/>
              </a:defRPr>
            </a:lvl5pPr>
            <a:lvl6pPr marL="2514026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23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19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15" indent="-228548" algn="l" defTabSz="9141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Flexible triggering</a:t>
            </a:r>
            <a:r>
              <a:rPr lang="en-US" sz="2000" dirty="0"/>
              <a:t>: on-demand, scheduled, tumbling window</a:t>
            </a:r>
          </a:p>
          <a:p>
            <a:r>
              <a:rPr lang="en-US" sz="2000" b="1" dirty="0"/>
              <a:t>Looping</a:t>
            </a:r>
            <a:r>
              <a:rPr lang="en-US" sz="2000" dirty="0"/>
              <a:t>: </a:t>
            </a:r>
            <a:r>
              <a:rPr lang="en-US" sz="2000" dirty="0" err="1"/>
              <a:t>ForEach</a:t>
            </a:r>
            <a:r>
              <a:rPr lang="en-US" sz="2000" dirty="0"/>
              <a:t>, </a:t>
            </a:r>
            <a:r>
              <a:rPr lang="en-US" sz="2000" dirty="0" err="1"/>
              <a:t>DoUntil</a:t>
            </a:r>
            <a:r>
              <a:rPr lang="en-US" sz="2000" dirty="0"/>
              <a:t>, </a:t>
            </a:r>
            <a:r>
              <a:rPr lang="en-US" sz="2000" dirty="0" err="1"/>
              <a:t>WaitFor</a:t>
            </a:r>
            <a:endParaRPr lang="en-US" sz="2000" dirty="0"/>
          </a:p>
          <a:p>
            <a:r>
              <a:rPr lang="en-US" sz="2000" b="1" dirty="0"/>
              <a:t>Branching activity</a:t>
            </a:r>
            <a:r>
              <a:rPr lang="en-US" sz="2000" dirty="0"/>
              <a:t>: If Condition</a:t>
            </a:r>
          </a:p>
          <a:p>
            <a:r>
              <a:rPr lang="en-US" sz="2000" b="1" dirty="0"/>
              <a:t>Conditional chaining of activities</a:t>
            </a:r>
            <a:r>
              <a:rPr lang="en-US" sz="2000" dirty="0"/>
              <a:t>: Succeeded, Failed, Skipped, Completed</a:t>
            </a:r>
          </a:p>
          <a:p>
            <a:r>
              <a:rPr lang="en-US" sz="2000" b="1" dirty="0"/>
              <a:t>Parameters and expression</a:t>
            </a:r>
            <a:r>
              <a:rPr lang="en-US" sz="2000" dirty="0"/>
              <a:t>: parameters can be defined for pipeline/activity/dataset</a:t>
            </a:r>
          </a:p>
          <a:p>
            <a:r>
              <a:rPr lang="en-US" sz="2000" b="1" dirty="0"/>
              <a:t>Custom state passing: </a:t>
            </a:r>
            <a:r>
              <a:rPr lang="en-US" sz="2000" dirty="0"/>
              <a:t>output from previous activity can be consumed by subsequent activity</a:t>
            </a:r>
          </a:p>
        </p:txBody>
      </p:sp>
    </p:spTree>
    <p:extLst>
      <p:ext uri="{BB962C8B-B14F-4D97-AF65-F5344CB8AC3E}">
        <p14:creationId xmlns:p14="http://schemas.microsoft.com/office/powerpoint/2010/main" val="590175795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5F8BA-DD9D-4376-8509-72FC89781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15663"/>
          </a:xfrm>
        </p:spPr>
        <p:txBody>
          <a:bodyPr/>
          <a:lstStyle/>
          <a:p>
            <a:r>
              <a:rPr lang="en-US" sz="6000" dirty="0"/>
              <a:t>Loading Data using ADF</a:t>
            </a:r>
          </a:p>
        </p:txBody>
      </p:sp>
    </p:spTree>
    <p:extLst>
      <p:ext uri="{BB962C8B-B14F-4D97-AF65-F5344CB8AC3E}">
        <p14:creationId xmlns:p14="http://schemas.microsoft.com/office/powerpoint/2010/main" val="82870064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A0392-90B2-43B0-9421-F28609BA8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38068"/>
            <a:ext cx="4795873" cy="1181862"/>
          </a:xfrm>
        </p:spPr>
        <p:txBody>
          <a:bodyPr/>
          <a:lstStyle/>
          <a:p>
            <a:r>
              <a:rPr lang="en-US" sz="3600" dirty="0"/>
              <a:t>Demo:</a:t>
            </a:r>
            <a:br>
              <a:rPr lang="en-US" sz="3600" dirty="0"/>
            </a:br>
            <a:r>
              <a:rPr lang="en-US" sz="3600" dirty="0"/>
              <a:t>Authoring copy pipe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85DD90-381C-427D-A9D8-F9A10AD82F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364984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6096001" y="627773"/>
            <a:ext cx="5377148" cy="216579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 dirty="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836399" y="2013584"/>
            <a:ext cx="4195083" cy="779987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DF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>
            <a:off x="8964643" y="1646453"/>
            <a:ext cx="1" cy="3576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842828" y="1327360"/>
            <a:ext cx="4195083" cy="29510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21127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 dirty="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9434877" y="3867274"/>
            <a:ext cx="2249681" cy="1407317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IR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340534" y="401435"/>
            <a:ext cx="467621" cy="798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340533" y="737881"/>
            <a:ext cx="480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702352" y="156035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682006" y="499264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at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8004222" y="2287017"/>
            <a:ext cx="1920841" cy="4143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8323141" y="2453072"/>
            <a:ext cx="226981" cy="114172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8739676" y="2449065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9172041" y="2357956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9172041" y="2560209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8553692" y="2506151"/>
            <a:ext cx="18598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988932" y="2415043"/>
            <a:ext cx="183108" cy="10460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966656" y="2506152"/>
            <a:ext cx="205384" cy="11114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9565400" y="2557011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9416034" y="2627591"/>
            <a:ext cx="15510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64200DD0-D3DA-4CB7-B918-33C27B988E75}"/>
              </a:ext>
            </a:extLst>
          </p:cNvPr>
          <p:cNvCxnSpPr>
            <a:cxnSpLocks/>
            <a:stCxn id="58" idx="0"/>
            <a:endCxn id="29" idx="2"/>
          </p:cNvCxnSpPr>
          <p:nvPr/>
        </p:nvCxnSpPr>
        <p:spPr>
          <a:xfrm flipV="1">
            <a:off x="10559716" y="5274591"/>
            <a:ext cx="0" cy="355255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8011345" y="2288524"/>
            <a:ext cx="1554054" cy="162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176" dirty="0">
                <a:solidFill>
                  <a:srgbClr val="737373"/>
                </a:solidFill>
                <a:latin typeface="Segoe UI Semilight"/>
                <a:cs typeface="Segoe UI" pitchFamily="34" charset="0"/>
              </a:rPr>
              <a:t>Pipeli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3BE2795-A704-445B-8FE3-CC61D41066E0}"/>
              </a:ext>
            </a:extLst>
          </p:cNvPr>
          <p:cNvSpPr/>
          <p:nvPr/>
        </p:nvSpPr>
        <p:spPr bwMode="auto">
          <a:xfrm>
            <a:off x="-3642" y="1867"/>
            <a:ext cx="5140930" cy="685524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F24FA54-9ADC-46C9-8F5E-9E84F17A4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9717" y="2188123"/>
            <a:ext cx="425086" cy="425544"/>
          </a:xfrm>
          <a:prstGeom prst="rect">
            <a:avLst/>
          </a:prstGeom>
        </p:spPr>
      </p:pic>
      <p:sp>
        <p:nvSpPr>
          <p:cNvPr id="54" name="Freeform 5">
            <a:extLst>
              <a:ext uri="{FF2B5EF4-FFF2-40B4-BE49-F238E27FC236}">
                <a16:creationId xmlns:a16="http://schemas.microsoft.com/office/drawing/2014/main" id="{3D738FCF-05CE-474C-A8EF-674DEFF392F1}"/>
              </a:ext>
            </a:extLst>
          </p:cNvPr>
          <p:cNvSpPr>
            <a:spLocks noChangeAspect="1"/>
          </p:cNvSpPr>
          <p:nvPr/>
        </p:nvSpPr>
        <p:spPr bwMode="black">
          <a:xfrm>
            <a:off x="5377870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 dirty="0">
              <a:solidFill>
                <a:srgbClr val="404040"/>
              </a:solidFill>
              <a:latin typeface="Segoe UI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stCxn id="29" idx="1"/>
            <a:endCxn id="65" idx="0"/>
          </p:cNvCxnSpPr>
          <p:nvPr/>
        </p:nvCxnSpPr>
        <p:spPr>
          <a:xfrm flipH="1">
            <a:off x="6994526" y="4570933"/>
            <a:ext cx="2440351" cy="1058913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Rounded Rectangle 8">
            <a:extLst>
              <a:ext uri="{FF2B5EF4-FFF2-40B4-BE49-F238E27FC236}">
                <a16:creationId xmlns:a16="http://schemas.microsoft.com/office/drawing/2014/main" id="{BF01306E-D157-4662-8FAC-9076B49B77AF}"/>
              </a:ext>
            </a:extLst>
          </p:cNvPr>
          <p:cNvSpPr/>
          <p:nvPr/>
        </p:nvSpPr>
        <p:spPr bwMode="auto">
          <a:xfrm>
            <a:off x="9434877" y="5629847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5" name="Rounded Rectangle 8">
            <a:extLst>
              <a:ext uri="{FF2B5EF4-FFF2-40B4-BE49-F238E27FC236}">
                <a16:creationId xmlns:a16="http://schemas.microsoft.com/office/drawing/2014/main" id="{11969639-7746-4D3E-82FE-3160CCC30BC5}"/>
              </a:ext>
            </a:extLst>
          </p:cNvPr>
          <p:cNvSpPr/>
          <p:nvPr/>
        </p:nvSpPr>
        <p:spPr bwMode="auto">
          <a:xfrm>
            <a:off x="5869684" y="5629846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8" name="Shape 312">
            <a:extLst>
              <a:ext uri="{FF2B5EF4-FFF2-40B4-BE49-F238E27FC236}">
                <a16:creationId xmlns:a16="http://schemas.microsoft.com/office/drawing/2014/main" id="{80A19E4E-1FBD-47C9-96D4-ABE590409776}"/>
              </a:ext>
            </a:extLst>
          </p:cNvPr>
          <p:cNvSpPr/>
          <p:nvPr/>
        </p:nvSpPr>
        <p:spPr>
          <a:xfrm>
            <a:off x="9580919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 dirty="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 dirty="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1" name="Shape 312">
            <a:extLst>
              <a:ext uri="{FF2B5EF4-FFF2-40B4-BE49-F238E27FC236}">
                <a16:creationId xmlns:a16="http://schemas.microsoft.com/office/drawing/2014/main" id="{6BBC1CFF-C1CA-4534-A7BD-C63170434E7C}"/>
              </a:ext>
            </a:extLst>
          </p:cNvPr>
          <p:cNvSpPr/>
          <p:nvPr/>
        </p:nvSpPr>
        <p:spPr>
          <a:xfrm>
            <a:off x="10092240" y="4749028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 dirty="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 dirty="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5" name="Shape 312">
            <a:extLst>
              <a:ext uri="{FF2B5EF4-FFF2-40B4-BE49-F238E27FC236}">
                <a16:creationId xmlns:a16="http://schemas.microsoft.com/office/drawing/2014/main" id="{AF864F23-D2FA-4A6F-A2F3-7A0DC355CE02}"/>
              </a:ext>
            </a:extLst>
          </p:cNvPr>
          <p:cNvSpPr/>
          <p:nvPr/>
        </p:nvSpPr>
        <p:spPr>
          <a:xfrm>
            <a:off x="10603561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 dirty="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 dirty="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6" name="Shape 312">
            <a:extLst>
              <a:ext uri="{FF2B5EF4-FFF2-40B4-BE49-F238E27FC236}">
                <a16:creationId xmlns:a16="http://schemas.microsoft.com/office/drawing/2014/main" id="{E16A578A-0FB0-42E6-B09F-814DFBE2A85B}"/>
              </a:ext>
            </a:extLst>
          </p:cNvPr>
          <p:cNvSpPr/>
          <p:nvPr/>
        </p:nvSpPr>
        <p:spPr>
          <a:xfrm>
            <a:off x="11114881" y="4748873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 dirty="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 dirty="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8" name="Shape 312">
            <a:extLst>
              <a:ext uri="{FF2B5EF4-FFF2-40B4-BE49-F238E27FC236}">
                <a16:creationId xmlns:a16="http://schemas.microsoft.com/office/drawing/2014/main" id="{4D601B02-F216-4DD9-A1F3-2666015C53A2}"/>
              </a:ext>
            </a:extLst>
          </p:cNvPr>
          <p:cNvSpPr/>
          <p:nvPr/>
        </p:nvSpPr>
        <p:spPr>
          <a:xfrm>
            <a:off x="9583416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 dirty="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 dirty="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9" name="Shape 312">
            <a:extLst>
              <a:ext uri="{FF2B5EF4-FFF2-40B4-BE49-F238E27FC236}">
                <a16:creationId xmlns:a16="http://schemas.microsoft.com/office/drawing/2014/main" id="{58A4551B-6283-4731-8429-82414B1E46DE}"/>
              </a:ext>
            </a:extLst>
          </p:cNvPr>
          <p:cNvSpPr/>
          <p:nvPr/>
        </p:nvSpPr>
        <p:spPr>
          <a:xfrm>
            <a:off x="10094737" y="4251975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 dirty="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 dirty="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Shape 312">
            <a:extLst>
              <a:ext uri="{FF2B5EF4-FFF2-40B4-BE49-F238E27FC236}">
                <a16:creationId xmlns:a16="http://schemas.microsoft.com/office/drawing/2014/main" id="{50607B50-0DFD-43D3-A5C3-89FFA6E2640A}"/>
              </a:ext>
            </a:extLst>
          </p:cNvPr>
          <p:cNvSpPr/>
          <p:nvPr/>
        </p:nvSpPr>
        <p:spPr>
          <a:xfrm>
            <a:off x="10606058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 dirty="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 dirty="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1" name="Shape 312">
            <a:extLst>
              <a:ext uri="{FF2B5EF4-FFF2-40B4-BE49-F238E27FC236}">
                <a16:creationId xmlns:a16="http://schemas.microsoft.com/office/drawing/2014/main" id="{1CBF28AD-3F87-4D54-A33B-2F7938941FAD}"/>
              </a:ext>
            </a:extLst>
          </p:cNvPr>
          <p:cNvSpPr/>
          <p:nvPr/>
        </p:nvSpPr>
        <p:spPr>
          <a:xfrm>
            <a:off x="11117378" y="4251820"/>
            <a:ext cx="422922" cy="397951"/>
          </a:xfrm>
          <a:prstGeom prst="rect">
            <a:avLst/>
          </a:prstGeom>
          <a:solidFill>
            <a:srgbClr val="D9D2E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01" tIns="91401" rIns="91401" bIns="91401" anchor="ctr" anchorCtr="0">
            <a:noAutofit/>
          </a:bodyPr>
          <a:lstStyle/>
          <a:p>
            <a:pPr algn="ctr" defTabSz="914126">
              <a:defRPr/>
            </a:pPr>
            <a:r>
              <a:rPr lang="en-US" sz="1200" dirty="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</a:t>
            </a:r>
            <a:endParaRPr lang="en" sz="1200" dirty="0">
              <a:solidFill>
                <a:srgbClr val="353535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300D489-377E-4A97-B41C-965DA92C4996}"/>
              </a:ext>
            </a:extLst>
          </p:cNvPr>
          <p:cNvSpPr/>
          <p:nvPr/>
        </p:nvSpPr>
        <p:spPr>
          <a:xfrm>
            <a:off x="196562" y="1434868"/>
            <a:ext cx="4940727" cy="3138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 dirty="0">
                <a:solidFill>
                  <a:srgbClr val="353535"/>
                </a:solidFill>
                <a:latin typeface="Segoe UI Semilight"/>
              </a:rPr>
              <a:t>For each copy run, you</a:t>
            </a:r>
            <a:r>
              <a:rPr lang="zh-CN" altLang="en-US" sz="1799" dirty="0">
                <a:solidFill>
                  <a:srgbClr val="353535"/>
                </a:solidFill>
                <a:latin typeface="Segoe UI Semilight"/>
              </a:rPr>
              <a:t> </a:t>
            </a:r>
            <a:r>
              <a:rPr lang="en-US" altLang="zh-CN" sz="1799" dirty="0">
                <a:solidFill>
                  <a:srgbClr val="353535"/>
                </a:solidFill>
                <a:latin typeface="Segoe UI Semilight"/>
              </a:rPr>
              <a:t>can</a:t>
            </a:r>
            <a:r>
              <a:rPr lang="en-US" sz="1799" dirty="0">
                <a:solidFill>
                  <a:srgbClr val="353535"/>
                </a:solidFill>
                <a:latin typeface="Segoe UI Semilight"/>
              </a:rPr>
              <a:t> specify how much resource to use for copy by </a:t>
            </a:r>
            <a:r>
              <a:rPr lang="en-US" sz="1799" dirty="0">
                <a:solidFill>
                  <a:srgbClr val="0070C0"/>
                </a:solidFill>
                <a:latin typeface="Segoe UI Semilight"/>
              </a:rPr>
              <a:t>Data Integration Units (DIUs)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 dirty="0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 dirty="0">
                <a:solidFill>
                  <a:srgbClr val="353535"/>
                </a:solidFill>
                <a:latin typeface="Segoe UI Semilight"/>
              </a:rPr>
              <a:t>DIU is a combination of CPU, memory, and network resource allocation.</a:t>
            </a:r>
          </a:p>
          <a:p>
            <a:pPr defTabSz="914126">
              <a:defRPr/>
            </a:pPr>
            <a:endParaRPr lang="en-US" sz="1799" dirty="0">
              <a:solidFill>
                <a:srgbClr val="0070C0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 dirty="0">
                <a:solidFill>
                  <a:srgbClr val="353535"/>
                </a:solidFill>
                <a:latin typeface="Segoe UI Semilight"/>
              </a:rPr>
              <a:t>Default behavior based on your data pattern – larger file size &amp; file count, larger DIUs. 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 dirty="0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 dirty="0">
                <a:solidFill>
                  <a:srgbClr val="353535"/>
                </a:solidFill>
                <a:latin typeface="Segoe UI Semilight"/>
              </a:rPr>
              <a:t>Serverless &amp; pay-as-you-go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F7A8F24-B21A-40DD-94C6-BF4CB3875348}"/>
              </a:ext>
            </a:extLst>
          </p:cNvPr>
          <p:cNvCxnSpPr>
            <a:cxnSpLocks/>
            <a:stCxn id="29" idx="0"/>
          </p:cNvCxnSpPr>
          <p:nvPr/>
        </p:nvCxnSpPr>
        <p:spPr>
          <a:xfrm flipH="1" flipV="1">
            <a:off x="8436631" y="2583997"/>
            <a:ext cx="2123086" cy="128327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1">
            <a:extLst>
              <a:ext uri="{FF2B5EF4-FFF2-40B4-BE49-F238E27FC236}">
                <a16:creationId xmlns:a16="http://schemas.microsoft.com/office/drawing/2014/main" id="{F9139A97-F0F2-4E22-9D53-9AA8054E5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58" y="290330"/>
            <a:ext cx="4794466" cy="899431"/>
          </a:xfrm>
        </p:spPr>
        <p:txBody>
          <a:bodyPr/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Cloud-to-cloud Cop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2CE997D-B9BB-47B6-9F99-9A8AFDB8C4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570" y="4774641"/>
            <a:ext cx="4777634" cy="82706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19118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5">
            <a:extLst>
              <a:ext uri="{FF2B5EF4-FFF2-40B4-BE49-F238E27FC236}">
                <a16:creationId xmlns:a16="http://schemas.microsoft.com/office/drawing/2014/main" id="{C94DB16D-BD12-474E-91F7-2B08993B681F}"/>
              </a:ext>
            </a:extLst>
          </p:cNvPr>
          <p:cNvSpPr>
            <a:spLocks noChangeAspect="1"/>
          </p:cNvSpPr>
          <p:nvPr/>
        </p:nvSpPr>
        <p:spPr bwMode="black">
          <a:xfrm>
            <a:off x="6096001" y="627773"/>
            <a:ext cx="5377148" cy="2165796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 dirty="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05C6554-7033-4FD7-817B-04EE491AC890}"/>
              </a:ext>
            </a:extLst>
          </p:cNvPr>
          <p:cNvSpPr/>
          <p:nvPr/>
        </p:nvSpPr>
        <p:spPr bwMode="auto">
          <a:xfrm>
            <a:off x="6836399" y="2013584"/>
            <a:ext cx="4195083" cy="779987"/>
          </a:xfrm>
          <a:prstGeom prst="roundRect">
            <a:avLst/>
          </a:prstGeom>
          <a:solidFill>
            <a:srgbClr val="FFFFFF"/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DF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A95DAF6-04E2-4384-BB8B-B9B6B58E307A}"/>
              </a:ext>
            </a:extLst>
          </p:cNvPr>
          <p:cNvCxnSpPr>
            <a:cxnSpLocks/>
          </p:cNvCxnSpPr>
          <p:nvPr/>
        </p:nvCxnSpPr>
        <p:spPr>
          <a:xfrm>
            <a:off x="8964643" y="1646453"/>
            <a:ext cx="1" cy="357661"/>
          </a:xfrm>
          <a:prstGeom prst="straightConnector1">
            <a:avLst/>
          </a:prstGeom>
          <a:noFill/>
          <a:ln w="9525" cap="flat" cmpd="sng" algn="ctr">
            <a:solidFill>
              <a:srgbClr val="353535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6975588-CC78-4821-A755-6DCBF069CB7A}"/>
              </a:ext>
            </a:extLst>
          </p:cNvPr>
          <p:cNvSpPr/>
          <p:nvPr/>
        </p:nvSpPr>
        <p:spPr bwMode="auto">
          <a:xfrm>
            <a:off x="6842828" y="1327360"/>
            <a:ext cx="4195083" cy="295101"/>
          </a:xfrm>
          <a:prstGeom prst="roundRect">
            <a:avLst>
              <a:gd name="adj" fmla="val 29739"/>
            </a:avLst>
          </a:prstGeom>
          <a:solidFill>
            <a:srgbClr val="FFFFFF">
              <a:alpha val="64000"/>
            </a:srgbClr>
          </a:solidFill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r>
              <a:rPr lang="en-US" sz="1600" b="1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X &amp; SDK</a:t>
            </a: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3C2DF947-5B6C-4FFF-B652-4381D3CF9D4B}"/>
              </a:ext>
            </a:extLst>
          </p:cNvPr>
          <p:cNvSpPr>
            <a:spLocks noChangeAspect="1"/>
          </p:cNvSpPr>
          <p:nvPr/>
        </p:nvSpPr>
        <p:spPr bwMode="black">
          <a:xfrm>
            <a:off x="8821127" y="4213987"/>
            <a:ext cx="3233308" cy="2016550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38" tIns="60919" rIns="121838" bIns="60919" numCol="1" anchor="t" anchorCtr="0" compatLnSpc="1">
            <a:prstTxWarp prst="textNoShape">
              <a:avLst/>
            </a:prstTxWarp>
          </a:bodyPr>
          <a:lstStyle/>
          <a:p>
            <a:pPr defTabSz="609102">
              <a:defRPr/>
            </a:pPr>
            <a:endParaRPr lang="en-US" sz="1176" dirty="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34DF98-0853-4D4C-8813-D270DC447790}"/>
              </a:ext>
            </a:extLst>
          </p:cNvPr>
          <p:cNvSpPr/>
          <p:nvPr/>
        </p:nvSpPr>
        <p:spPr bwMode="auto">
          <a:xfrm>
            <a:off x="5928342" y="4585413"/>
            <a:ext cx="1432739" cy="498445"/>
          </a:xfrm>
          <a:prstGeom prst="rect">
            <a:avLst/>
          </a:pr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1242193">
              <a:defRPr/>
            </a:pPr>
            <a:r>
              <a:rPr lang="en-US" sz="1600" b="1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lf-hosted IR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E385F1-7A8F-436F-B6BA-18F11BABC1D0}"/>
              </a:ext>
            </a:extLst>
          </p:cNvPr>
          <p:cNvCxnSpPr>
            <a:cxnSpLocks/>
          </p:cNvCxnSpPr>
          <p:nvPr/>
        </p:nvCxnSpPr>
        <p:spPr>
          <a:xfrm flipH="1">
            <a:off x="5340534" y="401435"/>
            <a:ext cx="467621" cy="798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24BF073-3D98-410B-9BC2-3F2270708AE0}"/>
              </a:ext>
            </a:extLst>
          </p:cNvPr>
          <p:cNvCxnSpPr>
            <a:cxnSpLocks/>
          </p:cNvCxnSpPr>
          <p:nvPr/>
        </p:nvCxnSpPr>
        <p:spPr>
          <a:xfrm flipH="1">
            <a:off x="5340533" y="737881"/>
            <a:ext cx="480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95DFB61-8305-4F34-83B5-2F372E50C2F6}"/>
              </a:ext>
            </a:extLst>
          </p:cNvPr>
          <p:cNvSpPr txBox="1"/>
          <p:nvPr/>
        </p:nvSpPr>
        <p:spPr>
          <a:xfrm>
            <a:off x="5702352" y="156035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mmand and Contr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6B02B0-9284-4FF3-A830-26007B12745C}"/>
              </a:ext>
            </a:extLst>
          </p:cNvPr>
          <p:cNvSpPr txBox="1"/>
          <p:nvPr/>
        </p:nvSpPr>
        <p:spPr>
          <a:xfrm>
            <a:off x="5682006" y="499264"/>
            <a:ext cx="4195670" cy="506769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at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B0EBD8C-E2A2-49A3-843B-1FDEB44EECCF}"/>
              </a:ext>
            </a:extLst>
          </p:cNvPr>
          <p:cNvSpPr/>
          <p:nvPr/>
        </p:nvSpPr>
        <p:spPr bwMode="auto">
          <a:xfrm>
            <a:off x="8004222" y="2287017"/>
            <a:ext cx="1920841" cy="4143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F3ED4035-BB56-4CE1-81A0-B153BC2E6A66}"/>
              </a:ext>
            </a:extLst>
          </p:cNvPr>
          <p:cNvSpPr/>
          <p:nvPr/>
        </p:nvSpPr>
        <p:spPr bwMode="auto">
          <a:xfrm>
            <a:off x="8323141" y="2453072"/>
            <a:ext cx="226981" cy="114172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CE12454-6A3A-44CB-8D67-1D787B1EF79C}"/>
              </a:ext>
            </a:extLst>
          </p:cNvPr>
          <p:cNvSpPr/>
          <p:nvPr/>
        </p:nvSpPr>
        <p:spPr bwMode="auto">
          <a:xfrm>
            <a:off x="8739676" y="2449065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0B35D7E2-588A-4DC2-A2C6-A048A133C0C9}"/>
              </a:ext>
            </a:extLst>
          </p:cNvPr>
          <p:cNvSpPr/>
          <p:nvPr/>
        </p:nvSpPr>
        <p:spPr bwMode="auto">
          <a:xfrm>
            <a:off x="9172041" y="2357956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0A003E-7ECA-42FE-BF3B-18E9E6FDA764}"/>
              </a:ext>
            </a:extLst>
          </p:cNvPr>
          <p:cNvSpPr/>
          <p:nvPr/>
        </p:nvSpPr>
        <p:spPr bwMode="auto">
          <a:xfrm>
            <a:off x="9172041" y="2560209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0B356A6B-0164-4398-B570-A1F6B7F9F2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8553692" y="2506151"/>
            <a:ext cx="18598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7900D27-B01D-4B85-8C5D-1E15BD88A73B}"/>
              </a:ext>
            </a:extLst>
          </p:cNvPr>
          <p:cNvCxnSpPr>
            <a:cxnSpLocks/>
            <a:endCxn id="63" idx="1"/>
          </p:cNvCxnSpPr>
          <p:nvPr/>
        </p:nvCxnSpPr>
        <p:spPr>
          <a:xfrm flipV="1">
            <a:off x="8988932" y="2415043"/>
            <a:ext cx="183108" cy="10460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0E88328-F82C-4906-89F3-82B6B96A790E}"/>
              </a:ext>
            </a:extLst>
          </p:cNvPr>
          <p:cNvCxnSpPr>
            <a:cxnSpLocks/>
            <a:stCxn id="62" idx="3"/>
            <a:endCxn id="64" idx="1"/>
          </p:cNvCxnSpPr>
          <p:nvPr/>
        </p:nvCxnSpPr>
        <p:spPr>
          <a:xfrm>
            <a:off x="8966656" y="2506152"/>
            <a:ext cx="205384" cy="11114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DF9319-38AD-4685-9C5B-8916A03F6367}"/>
              </a:ext>
            </a:extLst>
          </p:cNvPr>
          <p:cNvSpPr/>
          <p:nvPr/>
        </p:nvSpPr>
        <p:spPr bwMode="auto">
          <a:xfrm>
            <a:off x="9565400" y="2557011"/>
            <a:ext cx="226981" cy="1141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6231B9F-E3C5-4BEB-8C67-916D75FC05E2}"/>
              </a:ext>
            </a:extLst>
          </p:cNvPr>
          <p:cNvCxnSpPr>
            <a:cxnSpLocks/>
          </p:cNvCxnSpPr>
          <p:nvPr/>
        </p:nvCxnSpPr>
        <p:spPr>
          <a:xfrm>
            <a:off x="9416034" y="2627591"/>
            <a:ext cx="155107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64200DD0-D3DA-4CB7-B918-33C27B988E75}"/>
              </a:ext>
            </a:extLst>
          </p:cNvPr>
          <p:cNvCxnSpPr>
            <a:cxnSpLocks/>
            <a:stCxn id="58" idx="1"/>
            <a:endCxn id="91" idx="3"/>
          </p:cNvCxnSpPr>
          <p:nvPr/>
        </p:nvCxnSpPr>
        <p:spPr>
          <a:xfrm flipH="1" flipV="1">
            <a:off x="8464517" y="4545551"/>
            <a:ext cx="970359" cy="1318729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D5CDAE0F-0B5F-4F2E-8CA1-5BB4F041F851}"/>
              </a:ext>
            </a:extLst>
          </p:cNvPr>
          <p:cNvSpPr txBox="1"/>
          <p:nvPr/>
        </p:nvSpPr>
        <p:spPr>
          <a:xfrm>
            <a:off x="8011345" y="2288524"/>
            <a:ext cx="1554054" cy="162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176" dirty="0">
                <a:solidFill>
                  <a:srgbClr val="737373"/>
                </a:solidFill>
                <a:latin typeface="Segoe UI Semilight"/>
                <a:cs typeface="Segoe UI" pitchFamily="34" charset="0"/>
              </a:rPr>
              <a:t>Pipeli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3BE2795-A704-445B-8FE3-CC61D41066E0}"/>
              </a:ext>
            </a:extLst>
          </p:cNvPr>
          <p:cNvSpPr/>
          <p:nvPr/>
        </p:nvSpPr>
        <p:spPr bwMode="auto">
          <a:xfrm>
            <a:off x="-3642" y="1867"/>
            <a:ext cx="5140930" cy="685524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F24FA54-9ADC-46C9-8F5E-9E84F17A4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9717" y="2188123"/>
            <a:ext cx="425086" cy="425544"/>
          </a:xfrm>
          <a:prstGeom prst="rect">
            <a:avLst/>
          </a:prstGeom>
        </p:spPr>
      </p:pic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71888BB-2D5B-457D-8D15-D4385E9B1996}"/>
              </a:ext>
            </a:extLst>
          </p:cNvPr>
          <p:cNvCxnSpPr>
            <a:cxnSpLocks/>
            <a:stCxn id="91" idx="1"/>
            <a:endCxn id="65" idx="3"/>
          </p:cNvCxnSpPr>
          <p:nvPr/>
        </p:nvCxnSpPr>
        <p:spPr>
          <a:xfrm flipH="1">
            <a:off x="7470946" y="4545549"/>
            <a:ext cx="494127" cy="1318364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Rounded Rectangle 8">
            <a:extLst>
              <a:ext uri="{FF2B5EF4-FFF2-40B4-BE49-F238E27FC236}">
                <a16:creationId xmlns:a16="http://schemas.microsoft.com/office/drawing/2014/main" id="{BF01306E-D157-4662-8FAC-9076B49B77AF}"/>
              </a:ext>
            </a:extLst>
          </p:cNvPr>
          <p:cNvSpPr/>
          <p:nvPr/>
        </p:nvSpPr>
        <p:spPr bwMode="auto">
          <a:xfrm>
            <a:off x="9434877" y="5629847"/>
            <a:ext cx="224968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loud Data Stores</a:t>
            </a:r>
          </a:p>
        </p:txBody>
      </p:sp>
      <p:sp>
        <p:nvSpPr>
          <p:cNvPr id="65" name="Rounded Rectangle 8">
            <a:extLst>
              <a:ext uri="{FF2B5EF4-FFF2-40B4-BE49-F238E27FC236}">
                <a16:creationId xmlns:a16="http://schemas.microsoft.com/office/drawing/2014/main" id="{11969639-7746-4D3E-82FE-3160CCC30BC5}"/>
              </a:ext>
            </a:extLst>
          </p:cNvPr>
          <p:cNvSpPr/>
          <p:nvPr/>
        </p:nvSpPr>
        <p:spPr bwMode="auto">
          <a:xfrm>
            <a:off x="5907415" y="5629481"/>
            <a:ext cx="1563531" cy="468865"/>
          </a:xfrm>
          <a:prstGeom prst="roundRect">
            <a:avLst/>
          </a:prstGeom>
          <a:solidFill>
            <a:srgbClr val="4EB1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6" tIns="146246" rIns="182806" bIns="1462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0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On-</a:t>
            </a:r>
            <a:r>
              <a:rPr lang="en-US" sz="1600" b="1" dirty="0" err="1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prem</a:t>
            </a:r>
            <a:r>
              <a:rPr lang="en-US" sz="16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 Data Stores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B428AED6-AC8A-4C60-95B5-95562BCBDEC1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50000"/>
          </a:blip>
          <a:stretch>
            <a:fillRect/>
          </a:stretch>
        </p:blipFill>
        <p:spPr>
          <a:xfrm>
            <a:off x="5373390" y="5606840"/>
            <a:ext cx="388049" cy="481019"/>
          </a:xfrm>
          <a:prstGeom prst="rect">
            <a:avLst/>
          </a:prstGeom>
        </p:spPr>
      </p:pic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98B23F5F-9E66-489D-AF71-61BBB7E12B94}"/>
              </a:ext>
            </a:extLst>
          </p:cNvPr>
          <p:cNvSpPr/>
          <p:nvPr/>
        </p:nvSpPr>
        <p:spPr bwMode="auto">
          <a:xfrm>
            <a:off x="5533515" y="4224208"/>
            <a:ext cx="3016606" cy="1983661"/>
          </a:xfrm>
          <a:prstGeom prst="roundRect">
            <a:avLst/>
          </a:prstGeom>
          <a:noFill/>
          <a:ln w="10795" cap="flat" cmpd="sng" algn="ctr">
            <a:solidFill>
              <a:srgbClr val="002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 anchorCtr="0"/>
          <a:lstStyle/>
          <a:p>
            <a:pPr algn="ctr" defTabSz="1242193">
              <a:defRPr/>
            </a:pPr>
            <a:endParaRPr lang="en-US" sz="1372" b="1" kern="0" dirty="0">
              <a:solidFill>
                <a:srgbClr val="404040">
                  <a:lumMod val="75000"/>
                </a:srgbClr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90F3E73-5A22-4749-82A0-D4D62CFAF012}"/>
              </a:ext>
            </a:extLst>
          </p:cNvPr>
          <p:cNvGrpSpPr/>
          <p:nvPr/>
        </p:nvGrpSpPr>
        <p:grpSpPr>
          <a:xfrm>
            <a:off x="6611293" y="3988572"/>
            <a:ext cx="1031352" cy="409075"/>
            <a:chOff x="1570037" y="2467828"/>
            <a:chExt cx="1052307" cy="417387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DEA6D53-7402-4911-B73E-7E0CC8A0D4DB}"/>
                </a:ext>
              </a:extLst>
            </p:cNvPr>
            <p:cNvSpPr/>
            <p:nvPr/>
          </p:nvSpPr>
          <p:spPr bwMode="auto">
            <a:xfrm>
              <a:off x="1715190" y="2572174"/>
              <a:ext cx="762000" cy="20869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8" tIns="143391" rIns="179238" bIns="14339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Graphic 55" descr="Table">
              <a:extLst>
                <a:ext uri="{FF2B5EF4-FFF2-40B4-BE49-F238E27FC236}">
                  <a16:creationId xmlns:a16="http://schemas.microsoft.com/office/drawing/2014/main" id="{5F06400D-C9C6-466B-AC81-43B56A8C2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70037" y="2467828"/>
              <a:ext cx="1052307" cy="417387"/>
            </a:xfrm>
            <a:prstGeom prst="rect">
              <a:avLst/>
            </a:prstGeom>
          </p:spPr>
        </p:pic>
      </p:grpSp>
      <p:pic>
        <p:nvPicPr>
          <p:cNvPr id="60" name="Graphic 59" descr="Bonfire">
            <a:extLst>
              <a:ext uri="{FF2B5EF4-FFF2-40B4-BE49-F238E27FC236}">
                <a16:creationId xmlns:a16="http://schemas.microsoft.com/office/drawing/2014/main" id="{6D7BCDFE-2652-44A3-A7F7-1FA7335898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23725" y="3683300"/>
            <a:ext cx="412911" cy="412911"/>
          </a:xfrm>
          <a:prstGeom prst="rect">
            <a:avLst/>
          </a:prstGeom>
        </p:spPr>
      </p:pic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7A45403-FA1E-439A-AB26-24B0832D0047}"/>
              </a:ext>
            </a:extLst>
          </p:cNvPr>
          <p:cNvCxnSpPr>
            <a:cxnSpLocks/>
            <a:stCxn id="29" idx="0"/>
          </p:cNvCxnSpPr>
          <p:nvPr/>
        </p:nvCxnSpPr>
        <p:spPr>
          <a:xfrm flipV="1">
            <a:off x="6644710" y="2571738"/>
            <a:ext cx="1772538" cy="201367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90">
            <a:extLst>
              <a:ext uri="{FF2B5EF4-FFF2-40B4-BE49-F238E27FC236}">
                <a16:creationId xmlns:a16="http://schemas.microsoft.com/office/drawing/2014/main" id="{BB7FBCF2-5949-4536-913D-8E93522A618B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4341013"/>
            <a:ext cx="499444" cy="409075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D1BF0F7B-FDEB-4F54-ACE9-FF7142A360F3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4795368"/>
            <a:ext cx="499444" cy="409075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8563E6E3-F713-458B-B0D6-8595A81AC8D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5249724"/>
            <a:ext cx="499444" cy="409075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B9AE1FB3-E7AF-449B-AA3E-36A4011E1BB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5072" y="5704080"/>
            <a:ext cx="499444" cy="409075"/>
          </a:xfrm>
          <a:prstGeom prst="rect">
            <a:avLst/>
          </a:prstGeom>
        </p:spPr>
      </p:pic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B1E5E1A2-5391-41CB-9A5F-438AC6958BC9}"/>
              </a:ext>
            </a:extLst>
          </p:cNvPr>
          <p:cNvCxnSpPr>
            <a:cxnSpLocks/>
            <a:stCxn id="91" idx="1"/>
            <a:endCxn id="29" idx="3"/>
          </p:cNvCxnSpPr>
          <p:nvPr/>
        </p:nvCxnSpPr>
        <p:spPr>
          <a:xfrm flipH="1">
            <a:off x="7361080" y="4545550"/>
            <a:ext cx="603993" cy="28908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2CD83AB7-C86C-4C43-ACCE-AC432519365B}"/>
              </a:ext>
            </a:extLst>
          </p:cNvPr>
          <p:cNvCxnSpPr>
            <a:cxnSpLocks/>
            <a:stCxn id="29" idx="3"/>
            <a:endCxn id="92" idx="1"/>
          </p:cNvCxnSpPr>
          <p:nvPr/>
        </p:nvCxnSpPr>
        <p:spPr>
          <a:xfrm>
            <a:off x="7361080" y="4834635"/>
            <a:ext cx="603993" cy="165270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85208332-6AC4-4C7B-9258-66DFE0FAA1C2}"/>
              </a:ext>
            </a:extLst>
          </p:cNvPr>
          <p:cNvCxnSpPr>
            <a:cxnSpLocks/>
            <a:stCxn id="29" idx="3"/>
            <a:endCxn id="93" idx="1"/>
          </p:cNvCxnSpPr>
          <p:nvPr/>
        </p:nvCxnSpPr>
        <p:spPr>
          <a:xfrm>
            <a:off x="7361080" y="4834635"/>
            <a:ext cx="603993" cy="619626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52C0A0DF-8907-480D-A2E7-8544DF970E7D}"/>
              </a:ext>
            </a:extLst>
          </p:cNvPr>
          <p:cNvCxnSpPr>
            <a:cxnSpLocks/>
            <a:stCxn id="94" idx="1"/>
            <a:endCxn id="29" idx="3"/>
          </p:cNvCxnSpPr>
          <p:nvPr/>
        </p:nvCxnSpPr>
        <p:spPr>
          <a:xfrm flipH="1" flipV="1">
            <a:off x="7361080" y="4834636"/>
            <a:ext cx="603993" cy="107398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93516EB-E9ED-4BD7-8C2E-DB6244CDC08B}"/>
              </a:ext>
            </a:extLst>
          </p:cNvPr>
          <p:cNvCxnSpPr>
            <a:cxnSpLocks/>
            <a:stCxn id="92" idx="1"/>
            <a:endCxn id="65" idx="3"/>
          </p:cNvCxnSpPr>
          <p:nvPr/>
        </p:nvCxnSpPr>
        <p:spPr>
          <a:xfrm flipH="1">
            <a:off x="7470946" y="4999905"/>
            <a:ext cx="494127" cy="864008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EF3DA910-0F17-4146-967B-E95F2EFE8139}"/>
              </a:ext>
            </a:extLst>
          </p:cNvPr>
          <p:cNvCxnSpPr>
            <a:cxnSpLocks/>
            <a:stCxn id="93" idx="1"/>
            <a:endCxn id="65" idx="3"/>
          </p:cNvCxnSpPr>
          <p:nvPr/>
        </p:nvCxnSpPr>
        <p:spPr>
          <a:xfrm flipH="1">
            <a:off x="7470946" y="5454261"/>
            <a:ext cx="494127" cy="409652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29514B0B-1AB8-4767-9E10-E6E269B4F2A5}"/>
              </a:ext>
            </a:extLst>
          </p:cNvPr>
          <p:cNvCxnSpPr>
            <a:cxnSpLocks/>
            <a:stCxn id="94" idx="1"/>
            <a:endCxn id="65" idx="3"/>
          </p:cNvCxnSpPr>
          <p:nvPr/>
        </p:nvCxnSpPr>
        <p:spPr>
          <a:xfrm flipH="1" flipV="1">
            <a:off x="7470946" y="5863914"/>
            <a:ext cx="494127" cy="44703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097A37CD-2436-46D1-A0FE-90B452BC8C43}"/>
              </a:ext>
            </a:extLst>
          </p:cNvPr>
          <p:cNvCxnSpPr>
            <a:cxnSpLocks/>
            <a:stCxn id="58" idx="1"/>
            <a:endCxn id="92" idx="3"/>
          </p:cNvCxnSpPr>
          <p:nvPr/>
        </p:nvCxnSpPr>
        <p:spPr>
          <a:xfrm flipH="1" flipV="1">
            <a:off x="8464517" y="4999905"/>
            <a:ext cx="970359" cy="864374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DC59E39B-2852-4BBD-83ED-FC9829AD5345}"/>
              </a:ext>
            </a:extLst>
          </p:cNvPr>
          <p:cNvCxnSpPr>
            <a:cxnSpLocks/>
            <a:stCxn id="58" idx="1"/>
            <a:endCxn id="93" idx="3"/>
          </p:cNvCxnSpPr>
          <p:nvPr/>
        </p:nvCxnSpPr>
        <p:spPr>
          <a:xfrm flipH="1" flipV="1">
            <a:off x="8464517" y="5454261"/>
            <a:ext cx="970359" cy="410018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72EBEC76-B6FA-4FF7-94EF-D8798CB9097F}"/>
              </a:ext>
            </a:extLst>
          </p:cNvPr>
          <p:cNvCxnSpPr>
            <a:cxnSpLocks/>
            <a:stCxn id="58" idx="1"/>
            <a:endCxn id="94" idx="3"/>
          </p:cNvCxnSpPr>
          <p:nvPr/>
        </p:nvCxnSpPr>
        <p:spPr>
          <a:xfrm flipH="1">
            <a:off x="8464517" y="5864280"/>
            <a:ext cx="970359" cy="44337"/>
          </a:xfrm>
          <a:prstGeom prst="straightConnector1">
            <a:avLst/>
          </a:prstGeom>
          <a:ln w="12700">
            <a:headEnd type="triangl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BDCACB5E-7D1E-42CB-89D1-1094A4B63223}"/>
              </a:ext>
            </a:extLst>
          </p:cNvPr>
          <p:cNvSpPr/>
          <p:nvPr/>
        </p:nvSpPr>
        <p:spPr>
          <a:xfrm>
            <a:off x="158637" y="1367422"/>
            <a:ext cx="4940727" cy="3692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 dirty="0">
                <a:solidFill>
                  <a:srgbClr val="353535"/>
                </a:solidFill>
                <a:latin typeface="Segoe UI Semilight"/>
              </a:rPr>
              <a:t>For High Availability and scale-out, you can </a:t>
            </a:r>
            <a:r>
              <a:rPr lang="en-US" sz="1799" dirty="0">
                <a:solidFill>
                  <a:srgbClr val="0070C0"/>
                </a:solidFill>
                <a:latin typeface="Segoe UI Semilight"/>
              </a:rPr>
              <a:t>register up to 4 nodes to each self-hosted IR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 dirty="0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altLang="zh-CN" sz="1799" dirty="0">
                <a:solidFill>
                  <a:srgbClr val="353535"/>
                </a:solidFill>
                <a:latin typeface="Segoe UI Semilight"/>
              </a:rPr>
              <a:t>For</a:t>
            </a:r>
            <a:r>
              <a:rPr lang="en-US" sz="1799" dirty="0">
                <a:solidFill>
                  <a:srgbClr val="353535"/>
                </a:solidFill>
                <a:latin typeface="Segoe UI Semilight"/>
              </a:rPr>
              <a:t> each IR node, you can control </a:t>
            </a:r>
            <a:r>
              <a:rPr lang="en-US" sz="1799" dirty="0">
                <a:solidFill>
                  <a:srgbClr val="0070C0"/>
                </a:solidFill>
                <a:latin typeface="Segoe UI Semilight"/>
              </a:rPr>
              <a:t># of activity runs to execute at the same time</a:t>
            </a:r>
            <a:r>
              <a:rPr lang="en-US" sz="1799" dirty="0">
                <a:solidFill>
                  <a:srgbClr val="353535"/>
                </a:solidFill>
                <a:latin typeface="Segoe UI Semilight"/>
              </a:rPr>
              <a:t>, default behavior is determined based on IR machine spec (CPU/memory)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 dirty="0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 dirty="0">
                <a:solidFill>
                  <a:srgbClr val="353535"/>
                </a:solidFill>
                <a:latin typeface="Segoe UI Semilight"/>
              </a:rPr>
              <a:t>Active-active mode: requests are dispatched to nodes using round-robin.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endParaRPr lang="en-US" sz="1799" dirty="0">
              <a:solidFill>
                <a:srgbClr val="353535"/>
              </a:solidFill>
              <a:latin typeface="Segoe UI Semilight"/>
            </a:endParaRP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US" sz="1799" dirty="0">
                <a:solidFill>
                  <a:srgbClr val="353535"/>
                </a:solidFill>
                <a:latin typeface="Segoe UI Semilight"/>
              </a:rPr>
              <a:t>Jobs will be waiting in a queue if compacity is full, until available slot being freed up.</a:t>
            </a:r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52BB2947-F494-4FF9-A48C-ED6F18C01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58" y="290330"/>
            <a:ext cx="4794466" cy="899431"/>
          </a:xfrm>
        </p:spPr>
        <p:txBody>
          <a:bodyPr/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Hybrid Copy</a:t>
            </a:r>
          </a:p>
        </p:txBody>
      </p:sp>
    </p:spTree>
    <p:extLst>
      <p:ext uri="{BB962C8B-B14F-4D97-AF65-F5344CB8AC3E}">
        <p14:creationId xmlns:p14="http://schemas.microsoft.com/office/powerpoint/2010/main" val="331266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10653"/>
            <a:ext cx="11655840" cy="899665"/>
          </a:xfrm>
        </p:spPr>
        <p:txBody>
          <a:bodyPr>
            <a:normAutofit/>
          </a:bodyPr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Advanced Performance Optimizatio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4C45063-6CD9-4CA5-B62A-7528214A7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5563003"/>
              </p:ext>
            </p:extLst>
          </p:nvPr>
        </p:nvGraphicFramePr>
        <p:xfrm>
          <a:off x="408142" y="652754"/>
          <a:ext cx="11515777" cy="607556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404632">
                  <a:extLst>
                    <a:ext uri="{9D8B030D-6E8A-4147-A177-3AD203B41FA5}">
                      <a16:colId xmlns:a16="http://schemas.microsoft.com/office/drawing/2014/main" val="2814221199"/>
                    </a:ext>
                  </a:extLst>
                </a:gridCol>
                <a:gridCol w="5272553">
                  <a:extLst>
                    <a:ext uri="{9D8B030D-6E8A-4147-A177-3AD203B41FA5}">
                      <a16:colId xmlns:a16="http://schemas.microsoft.com/office/drawing/2014/main" val="287142749"/>
                    </a:ext>
                  </a:extLst>
                </a:gridCol>
                <a:gridCol w="3838592">
                  <a:extLst>
                    <a:ext uri="{9D8B030D-6E8A-4147-A177-3AD203B41FA5}">
                      <a16:colId xmlns:a16="http://schemas.microsoft.com/office/drawing/2014/main" val="3497765145"/>
                    </a:ext>
                  </a:extLst>
                </a:gridCol>
              </a:tblGrid>
              <a:tr h="429730">
                <a:tc>
                  <a:txBody>
                    <a:bodyPr/>
                    <a:lstStyle/>
                    <a:p>
                      <a:r>
                        <a:rPr lang="en-US" sz="1600" dirty="0"/>
                        <a:t>Copy Scenar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3087476"/>
                  </a:ext>
                </a:extLst>
              </a:tr>
              <a:tr h="1541446">
                <a:tc>
                  <a:txBody>
                    <a:bodyPr/>
                    <a:lstStyle/>
                    <a:p>
                      <a:r>
                        <a:rPr lang="en-US" sz="1600" dirty="0"/>
                        <a:t>Loading from Azure Blob or ADLS into SQL D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Use </a:t>
                      </a:r>
                      <a:r>
                        <a:rPr lang="en-US" sz="1600" dirty="0" err="1"/>
                        <a:t>Polybase</a:t>
                      </a:r>
                      <a:r>
                        <a:rPr lang="en-US" sz="1600" dirty="0"/>
                        <a:t> instead of BULKINSERT.</a:t>
                      </a:r>
                    </a:p>
                    <a:p>
                      <a:r>
                        <a:rPr lang="en-US" sz="1600" dirty="0"/>
                        <a:t>Applicable when format is text, ORC, Parquet and meets </a:t>
                      </a:r>
                      <a:r>
                        <a:rPr lang="en-US" sz="1600" dirty="0">
                          <a:hlinkClick r:id="rId3"/>
                        </a:rPr>
                        <a:t>these criteria</a:t>
                      </a:r>
                      <a:r>
                        <a:rPr lang="en-US" sz="1600" dirty="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7425330"/>
                  </a:ext>
                </a:extLst>
              </a:tr>
              <a:tr h="1977887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 dirty="0"/>
                        <a:t>Loading from data sources other than Azure Blob/ADLS into SQL D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Use staged copy via Azure Blo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364421"/>
                  </a:ext>
                </a:extLst>
              </a:tr>
              <a:tr h="2126506">
                <a:tc>
                  <a:txBody>
                    <a:bodyPr/>
                    <a:lstStyle/>
                    <a:p>
                      <a:r>
                        <a:rPr lang="en-US" sz="1600" dirty="0"/>
                        <a:t>Loading data from Amazon Redshif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Use UNLOAD to copy data from Amazon Redshift to Amazon S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4689845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6E794B5-C79C-4367-802D-D77F353048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548" y="3422181"/>
            <a:ext cx="3936713" cy="72108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CE5D2D7-B535-45C0-8AC4-C77A278B462C}"/>
              </a:ext>
            </a:extLst>
          </p:cNvPr>
          <p:cNvSpPr/>
          <p:nvPr/>
        </p:nvSpPr>
        <p:spPr>
          <a:xfrm>
            <a:off x="8349731" y="1123718"/>
            <a:ext cx="324303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"activities":[</a:t>
            </a:r>
          </a:p>
          <a:p>
            <a:r>
              <a:rPr lang="en-US" sz="900" dirty="0"/>
              <a:t>    {</a:t>
            </a:r>
          </a:p>
          <a:p>
            <a:r>
              <a:rPr lang="en-US" sz="900" dirty="0"/>
              <a:t>        "type": "Copy",</a:t>
            </a:r>
          </a:p>
          <a:p>
            <a:r>
              <a:rPr lang="en-US" sz="900" dirty="0"/>
              <a:t>        "</a:t>
            </a:r>
            <a:r>
              <a:rPr lang="en-US" sz="900" dirty="0" err="1"/>
              <a:t>typeProperties</a:t>
            </a:r>
            <a:r>
              <a:rPr lang="en-US" sz="900" dirty="0"/>
              <a:t>": {</a:t>
            </a:r>
          </a:p>
          <a:p>
            <a:r>
              <a:rPr lang="en-US" sz="900" dirty="0"/>
              <a:t>            "source": { "type": "</a:t>
            </a:r>
            <a:r>
              <a:rPr lang="en-US" sz="900" dirty="0" err="1"/>
              <a:t>BlobSource</a:t>
            </a:r>
            <a:r>
              <a:rPr lang="en-US" sz="900" dirty="0"/>
              <a:t>“ },</a:t>
            </a:r>
          </a:p>
          <a:p>
            <a:r>
              <a:rPr lang="en-US" sz="900" dirty="0"/>
              <a:t>            "sink": {</a:t>
            </a:r>
          </a:p>
          <a:p>
            <a:r>
              <a:rPr lang="en-US" sz="900" dirty="0"/>
              <a:t>                "type": "</a:t>
            </a:r>
            <a:r>
              <a:rPr lang="en-US" sz="900" dirty="0" err="1"/>
              <a:t>SqlDWSink</a:t>
            </a:r>
            <a:r>
              <a:rPr lang="en-US" sz="900" dirty="0"/>
              <a:t>",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"</a:t>
            </a:r>
            <a:r>
              <a:rPr lang="en-US" sz="900" b="1" dirty="0" err="1">
                <a:solidFill>
                  <a:srgbClr val="C00000"/>
                </a:solidFill>
              </a:rPr>
              <a:t>allowPolyBase</a:t>
            </a:r>
            <a:r>
              <a:rPr lang="en-US" sz="900" b="1" dirty="0">
                <a:solidFill>
                  <a:srgbClr val="C00000"/>
                </a:solidFill>
              </a:rPr>
              <a:t>": true</a:t>
            </a:r>
          </a:p>
          <a:p>
            <a:r>
              <a:rPr lang="en-US" sz="900" dirty="0"/>
              <a:t>            } } }</a:t>
            </a:r>
          </a:p>
          <a:p>
            <a:r>
              <a:rPr lang="en-US" sz="900" dirty="0"/>
              <a:t>]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F5310F-1B5B-4C6D-B541-492600E4DD8E}"/>
              </a:ext>
            </a:extLst>
          </p:cNvPr>
          <p:cNvSpPr/>
          <p:nvPr/>
        </p:nvSpPr>
        <p:spPr>
          <a:xfrm>
            <a:off x="8349731" y="2654824"/>
            <a:ext cx="304800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"activities":[</a:t>
            </a:r>
          </a:p>
          <a:p>
            <a:r>
              <a:rPr lang="en-US" sz="900" dirty="0"/>
              <a:t>    {</a:t>
            </a:r>
          </a:p>
          <a:p>
            <a:r>
              <a:rPr lang="en-US" sz="900" dirty="0"/>
              <a:t>        "</a:t>
            </a:r>
            <a:r>
              <a:rPr lang="en-US" sz="900" dirty="0" err="1"/>
              <a:t>typeProperties</a:t>
            </a:r>
            <a:r>
              <a:rPr lang="en-US" sz="900" dirty="0"/>
              <a:t>": {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"</a:t>
            </a:r>
            <a:r>
              <a:rPr lang="en-US" sz="900" b="1" dirty="0" err="1">
                <a:solidFill>
                  <a:srgbClr val="C00000"/>
                </a:solidFill>
              </a:rPr>
              <a:t>enableStaging</a:t>
            </a:r>
            <a:r>
              <a:rPr lang="en-US" sz="900" b="1" dirty="0">
                <a:solidFill>
                  <a:srgbClr val="C00000"/>
                </a:solidFill>
              </a:rPr>
              <a:t>": true,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"</a:t>
            </a:r>
            <a:r>
              <a:rPr lang="en-US" sz="900" b="1" dirty="0" err="1">
                <a:solidFill>
                  <a:srgbClr val="C00000"/>
                </a:solidFill>
              </a:rPr>
              <a:t>stagingSettings</a:t>
            </a:r>
            <a:r>
              <a:rPr lang="en-US" sz="900" b="1" dirty="0">
                <a:solidFill>
                  <a:srgbClr val="C00000"/>
                </a:solidFill>
              </a:rPr>
              <a:t>": {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"</a:t>
            </a:r>
            <a:r>
              <a:rPr lang="en-US" sz="900" b="1" dirty="0" err="1">
                <a:solidFill>
                  <a:srgbClr val="C00000"/>
                </a:solidFill>
              </a:rPr>
              <a:t>linkedServiceName</a:t>
            </a:r>
            <a:r>
              <a:rPr lang="en-US" sz="900" b="1" dirty="0">
                <a:solidFill>
                  <a:srgbClr val="C00000"/>
                </a:solidFill>
              </a:rPr>
              <a:t>": {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    "</a:t>
            </a:r>
            <a:r>
              <a:rPr lang="en-US" sz="900" b="1" dirty="0" err="1">
                <a:solidFill>
                  <a:srgbClr val="C00000"/>
                </a:solidFill>
              </a:rPr>
              <a:t>referenceName</a:t>
            </a:r>
            <a:r>
              <a:rPr lang="en-US" sz="900" b="1" dirty="0">
                <a:solidFill>
                  <a:srgbClr val="C00000"/>
                </a:solidFill>
              </a:rPr>
              <a:t>": "</a:t>
            </a:r>
            <a:r>
              <a:rPr lang="en-US" sz="900" b="1" dirty="0" err="1">
                <a:solidFill>
                  <a:srgbClr val="C00000"/>
                </a:solidFill>
              </a:rPr>
              <a:t>MyStagingBlob</a:t>
            </a:r>
            <a:r>
              <a:rPr lang="en-US" sz="900" b="1" dirty="0">
                <a:solidFill>
                  <a:srgbClr val="C00000"/>
                </a:solidFill>
              </a:rPr>
              <a:t>",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    "type": "</a:t>
            </a:r>
            <a:r>
              <a:rPr lang="en-US" sz="900" b="1" dirty="0" err="1">
                <a:solidFill>
                  <a:srgbClr val="C00000"/>
                </a:solidFill>
              </a:rPr>
              <a:t>LinkedServiceReference</a:t>
            </a:r>
            <a:r>
              <a:rPr lang="en-US" sz="900" b="1" dirty="0">
                <a:solidFill>
                  <a:srgbClr val="C00000"/>
                </a:solidFill>
              </a:rPr>
              <a:t>"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},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"path": "</a:t>
            </a:r>
            <a:r>
              <a:rPr lang="en-US" sz="900" b="1" dirty="0" err="1">
                <a:solidFill>
                  <a:srgbClr val="C00000"/>
                </a:solidFill>
              </a:rPr>
              <a:t>stagingcontainer</a:t>
            </a:r>
            <a:r>
              <a:rPr lang="en-US" sz="900" b="1" dirty="0">
                <a:solidFill>
                  <a:srgbClr val="C00000"/>
                </a:solidFill>
              </a:rPr>
              <a:t>/path",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"</a:t>
            </a:r>
            <a:r>
              <a:rPr lang="en-US" sz="900" b="1" dirty="0" err="1">
                <a:solidFill>
                  <a:srgbClr val="C00000"/>
                </a:solidFill>
              </a:rPr>
              <a:t>enableCompression</a:t>
            </a:r>
            <a:r>
              <a:rPr lang="en-US" sz="900" b="1" dirty="0">
                <a:solidFill>
                  <a:srgbClr val="C00000"/>
                </a:solidFill>
              </a:rPr>
              <a:t>": true</a:t>
            </a:r>
          </a:p>
          <a:p>
            <a:r>
              <a:rPr lang="en-US" sz="900" dirty="0"/>
              <a:t>            } } }</a:t>
            </a:r>
          </a:p>
          <a:p>
            <a:r>
              <a:rPr lang="en-US" sz="900" dirty="0"/>
              <a:t>]</a:t>
            </a:r>
          </a:p>
        </p:txBody>
      </p:sp>
      <p:pic>
        <p:nvPicPr>
          <p:cNvPr id="12" name="Picture 11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580A9F64-B1F9-484B-A131-A1BF911F3D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566" y="5528261"/>
            <a:ext cx="5131507" cy="80967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4F5BA3A-D60C-4864-AEF9-E4B5EAABB981}"/>
              </a:ext>
            </a:extLst>
          </p:cNvPr>
          <p:cNvSpPr/>
          <p:nvPr/>
        </p:nvSpPr>
        <p:spPr>
          <a:xfrm>
            <a:off x="8349731" y="4587405"/>
            <a:ext cx="3332922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"activities":[</a:t>
            </a:r>
          </a:p>
          <a:p>
            <a:r>
              <a:rPr lang="en-US" sz="900" dirty="0"/>
              <a:t>    {</a:t>
            </a:r>
          </a:p>
          <a:p>
            <a:r>
              <a:rPr lang="en-US" sz="900" dirty="0"/>
              <a:t>        "</a:t>
            </a:r>
            <a:r>
              <a:rPr lang="en-US" sz="900" dirty="0" err="1"/>
              <a:t>typeProperties</a:t>
            </a:r>
            <a:r>
              <a:rPr lang="en-US" sz="900" dirty="0"/>
              <a:t>": {</a:t>
            </a:r>
          </a:p>
          <a:p>
            <a:r>
              <a:rPr lang="en-US" sz="900" dirty="0"/>
              <a:t>            "source": {</a:t>
            </a:r>
          </a:p>
          <a:p>
            <a:r>
              <a:rPr lang="en-US" sz="900" dirty="0"/>
              <a:t>                "type": "</a:t>
            </a:r>
            <a:r>
              <a:rPr lang="en-US" sz="900" dirty="0" err="1"/>
              <a:t>AmazonRedshiftSource</a:t>
            </a:r>
            <a:r>
              <a:rPr lang="en-US" sz="900" dirty="0"/>
              <a:t>",</a:t>
            </a:r>
          </a:p>
          <a:p>
            <a:r>
              <a:rPr lang="en-US" sz="900" dirty="0"/>
              <a:t>                "query": "select * from </a:t>
            </a:r>
            <a:r>
              <a:rPr lang="en-US" sz="900" dirty="0" err="1"/>
              <a:t>MyTable</a:t>
            </a:r>
            <a:r>
              <a:rPr lang="en-US" sz="900" dirty="0"/>
              <a:t>",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"</a:t>
            </a:r>
            <a:r>
              <a:rPr lang="en-US" sz="900" b="1" dirty="0" err="1">
                <a:solidFill>
                  <a:srgbClr val="C00000"/>
                </a:solidFill>
              </a:rPr>
              <a:t>redshiftUnloadSettings</a:t>
            </a:r>
            <a:r>
              <a:rPr lang="en-US" sz="900" b="1" dirty="0">
                <a:solidFill>
                  <a:srgbClr val="C00000"/>
                </a:solidFill>
              </a:rPr>
              <a:t>": {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    "s3LinkedServiceName": {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        "</a:t>
            </a:r>
            <a:r>
              <a:rPr lang="en-US" sz="900" b="1" dirty="0" err="1">
                <a:solidFill>
                  <a:srgbClr val="C00000"/>
                </a:solidFill>
              </a:rPr>
              <a:t>referenceName</a:t>
            </a:r>
            <a:r>
              <a:rPr lang="en-US" sz="900" b="1" dirty="0">
                <a:solidFill>
                  <a:srgbClr val="C00000"/>
                </a:solidFill>
              </a:rPr>
              <a:t>": "AmazonS3LinkedService",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        "type": "</a:t>
            </a:r>
            <a:r>
              <a:rPr lang="en-US" sz="900" b="1" dirty="0" err="1">
                <a:solidFill>
                  <a:srgbClr val="C00000"/>
                </a:solidFill>
              </a:rPr>
              <a:t>LinkedServiceReference</a:t>
            </a:r>
            <a:r>
              <a:rPr lang="en-US" sz="900" b="1" dirty="0">
                <a:solidFill>
                  <a:srgbClr val="C00000"/>
                </a:solidFill>
              </a:rPr>
              <a:t>"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    },</a:t>
            </a:r>
          </a:p>
          <a:p>
            <a:r>
              <a:rPr lang="en-US" sz="900" b="1" dirty="0">
                <a:solidFill>
                  <a:srgbClr val="C00000"/>
                </a:solidFill>
              </a:rPr>
              <a:t>                    "</a:t>
            </a:r>
            <a:r>
              <a:rPr lang="en-US" sz="900" b="1" dirty="0" err="1">
                <a:solidFill>
                  <a:srgbClr val="C00000"/>
                </a:solidFill>
              </a:rPr>
              <a:t>bucketName</a:t>
            </a:r>
            <a:r>
              <a:rPr lang="en-US" sz="900" b="1" dirty="0">
                <a:solidFill>
                  <a:srgbClr val="C00000"/>
                </a:solidFill>
              </a:rPr>
              <a:t>": "</a:t>
            </a:r>
            <a:r>
              <a:rPr lang="en-US" sz="900" b="1" dirty="0" err="1">
                <a:solidFill>
                  <a:srgbClr val="C00000"/>
                </a:solidFill>
              </a:rPr>
              <a:t>bucketForUnload</a:t>
            </a:r>
            <a:r>
              <a:rPr lang="en-US" sz="900" b="1" dirty="0">
                <a:solidFill>
                  <a:srgbClr val="C00000"/>
                </a:solidFill>
              </a:rPr>
              <a:t>"</a:t>
            </a:r>
          </a:p>
          <a:p>
            <a:r>
              <a:rPr lang="en-US" sz="900" dirty="0"/>
              <a:t>                }</a:t>
            </a:r>
          </a:p>
          <a:p>
            <a:r>
              <a:rPr lang="en-US" sz="900" dirty="0"/>
              <a:t>            },</a:t>
            </a:r>
          </a:p>
          <a:p>
            <a:r>
              <a:rPr lang="en-US" sz="9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551723729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5001" y="1892300"/>
            <a:ext cx="5940999" cy="1375535"/>
          </a:xfrm>
          <a:ln>
            <a:solidFill>
              <a:srgbClr val="0086AC"/>
            </a:solidFill>
          </a:ln>
        </p:spPr>
        <p:txBody>
          <a:bodyPr/>
          <a:lstStyle/>
          <a:p>
            <a:r>
              <a:rPr lang="en-US" sz="4400" dirty="0"/>
              <a:t>Ingesting Data into Azure using Azure Data Factor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301" y="4207495"/>
            <a:ext cx="5826699" cy="2331618"/>
          </a:xfrm>
        </p:spPr>
        <p:txBody>
          <a:bodyPr/>
          <a:lstStyle/>
          <a:p>
            <a:r>
              <a:rPr lang="en-US" dirty="0"/>
              <a:t>Shirley Wang</a:t>
            </a:r>
          </a:p>
          <a:p>
            <a:r>
              <a:rPr lang="en-US" dirty="0"/>
              <a:t>Program Manager</a:t>
            </a:r>
          </a:p>
          <a:p>
            <a:r>
              <a:rPr lang="en-US" dirty="0"/>
              <a:t>Azure Data Factory</a:t>
            </a:r>
          </a:p>
          <a:p>
            <a:endParaRPr lang="en-US" dirty="0"/>
          </a:p>
          <a:p>
            <a:r>
              <a:rPr lang="en-US" sz="2800" dirty="0"/>
              <a:t>shwang@microsoft.com</a:t>
            </a:r>
          </a:p>
        </p:txBody>
      </p:sp>
    </p:spTree>
    <p:extLst>
      <p:ext uri="{BB962C8B-B14F-4D97-AF65-F5344CB8AC3E}">
        <p14:creationId xmlns:p14="http://schemas.microsoft.com/office/powerpoint/2010/main" val="2777298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A0392-90B2-43B0-9421-F28609BA8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171" y="2838068"/>
            <a:ext cx="5094515" cy="1181862"/>
          </a:xfrm>
        </p:spPr>
        <p:txBody>
          <a:bodyPr/>
          <a:lstStyle/>
          <a:p>
            <a:r>
              <a:rPr lang="en-US" sz="3600" dirty="0"/>
              <a:t>Demo:</a:t>
            </a:r>
            <a:br>
              <a:rPr lang="en-US" sz="3600" dirty="0"/>
            </a:br>
            <a:r>
              <a:rPr lang="en-US" sz="3600" dirty="0"/>
              <a:t>Scaling ingestion perf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85DD90-381C-427D-A9D8-F9A10AD82F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561985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1">
            <a:extLst>
              <a:ext uri="{FF2B5EF4-FFF2-40B4-BE49-F238E27FC236}">
                <a16:creationId xmlns:a16="http://schemas.microsoft.com/office/drawing/2014/main" id="{CF26B265-9834-4B81-80EB-16C9BBDDA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561" y="155051"/>
            <a:ext cx="10511370" cy="1150645"/>
          </a:xfrm>
        </p:spPr>
        <p:txBody>
          <a:bodyPr>
            <a:normAutofit/>
          </a:bodyPr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Security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6E3A5D5-6FAD-4FA3-9A02-406F8EBEA03A}"/>
              </a:ext>
            </a:extLst>
          </p:cNvPr>
          <p:cNvSpPr txBox="1"/>
          <p:nvPr/>
        </p:nvSpPr>
        <p:spPr>
          <a:xfrm>
            <a:off x="883007" y="1705609"/>
            <a:ext cx="4798873" cy="132343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e to Azure data services </a:t>
            </a:r>
            <a:r>
              <a:rPr lang="en-US" sz="1600" dirty="0">
                <a:solidFill>
                  <a:srgbClr val="505050"/>
                </a:solidFill>
                <a:latin typeface="Segoe UI Semilight"/>
              </a:rPr>
              <a:t>using Managed Service Identify (MSI) or Service Principal</a:t>
            </a: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505050"/>
              </a:solidFill>
              <a:latin typeface="Segoe UI Semilight"/>
            </a:endParaRP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e to external data stores </a:t>
            </a:r>
            <a:r>
              <a:rPr lang="en-US" sz="1600" dirty="0">
                <a:solidFill>
                  <a:srgbClr val="505050"/>
                </a:solidFill>
                <a:latin typeface="Segoe UI Semilight"/>
              </a:rPr>
              <a:t>using basic auth, key-based auth, or Windows auth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C2A9143-0CF3-415D-88A8-76169FAF0B5C}"/>
              </a:ext>
            </a:extLst>
          </p:cNvPr>
          <p:cNvSpPr txBox="1"/>
          <p:nvPr/>
        </p:nvSpPr>
        <p:spPr>
          <a:xfrm>
            <a:off x="883008" y="1336954"/>
            <a:ext cx="2903359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ENTICATION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4AB17DD-BD3E-4CB3-8CC1-6EFBCCA02E2E}"/>
              </a:ext>
            </a:extLst>
          </p:cNvPr>
          <p:cNvCxnSpPr>
            <a:cxnSpLocks/>
          </p:cNvCxnSpPr>
          <p:nvPr/>
        </p:nvCxnSpPr>
        <p:spPr>
          <a:xfrm>
            <a:off x="5867400" y="838200"/>
            <a:ext cx="0" cy="548640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8B0488B-39D7-48F9-9930-40B02BB7E46A}"/>
              </a:ext>
            </a:extLst>
          </p:cNvPr>
          <p:cNvCxnSpPr>
            <a:cxnSpLocks/>
          </p:cNvCxnSpPr>
          <p:nvPr/>
        </p:nvCxnSpPr>
        <p:spPr>
          <a:xfrm>
            <a:off x="838200" y="3800736"/>
            <a:ext cx="10515600" cy="0"/>
          </a:xfrm>
          <a:prstGeom prst="line">
            <a:avLst/>
          </a:prstGeom>
          <a:noFill/>
          <a:ln w="9525" cap="flat" cmpd="sng" algn="ctr">
            <a:solidFill>
              <a:srgbClr val="0078D7"/>
            </a:solidFill>
            <a:prstDash val="solid"/>
          </a:ln>
          <a:effectLst/>
        </p:spPr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A36C3A77-1937-4B72-B14C-017956CA6F0E}"/>
              </a:ext>
            </a:extLst>
          </p:cNvPr>
          <p:cNvSpPr txBox="1"/>
          <p:nvPr/>
        </p:nvSpPr>
        <p:spPr>
          <a:xfrm>
            <a:off x="6394492" y="4474590"/>
            <a:ext cx="5348068" cy="1850010"/>
          </a:xfrm>
          <a:prstGeom prst="rect">
            <a:avLst/>
          </a:prstGeom>
          <a:noFill/>
        </p:spPr>
        <p:txBody>
          <a:bodyPr wrap="square" lIns="179238" tIns="143391" rIns="179238" bIns="143391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 b="1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is encrypted at rest </a:t>
            </a:r>
            <a:r>
              <a:rPr lang="en-US" sz="1600" dirty="0">
                <a:solidFill>
                  <a:srgbClr val="505050"/>
                </a:solidFill>
                <a:latin typeface="Segoe UI Semilight"/>
              </a:rPr>
              <a:t>by leveraging data store’s encryption mechanisms: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 dirty="0">
                <a:solidFill>
                  <a:srgbClr val="505050"/>
                </a:solidFill>
                <a:latin typeface="Segoe UI Semilight"/>
              </a:rPr>
              <a:t>Transparent Data Encryption (TDE) in Azure SQL Data Warehouse and Azure SQL Database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 dirty="0">
                <a:solidFill>
                  <a:srgbClr val="505050"/>
                </a:solidFill>
                <a:latin typeface="Segoe UI Semilight"/>
              </a:rPr>
              <a:t>Storage Service Encryption (SSE) for Azure Storage</a:t>
            </a:r>
          </a:p>
          <a:p>
            <a:pPr marL="285750" indent="-285750" defTabSz="914093">
              <a:lnSpc>
                <a:spcPct val="90000"/>
              </a:lnSpc>
              <a:spcAft>
                <a:spcPts val="588"/>
              </a:spcAft>
              <a:buFontTx/>
              <a:buChar char="-"/>
              <a:defRPr/>
            </a:pPr>
            <a:r>
              <a:rPr lang="en-US" sz="1600" dirty="0">
                <a:solidFill>
                  <a:srgbClr val="505050"/>
                </a:solidFill>
                <a:latin typeface="Segoe UI Semilight"/>
              </a:rPr>
              <a:t>Automatic encryption for ADLS, etc.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C3C20EF-E458-49F0-B376-616492DC4448}"/>
              </a:ext>
            </a:extLst>
          </p:cNvPr>
          <p:cNvSpPr txBox="1"/>
          <p:nvPr/>
        </p:nvSpPr>
        <p:spPr>
          <a:xfrm>
            <a:off x="505887" y="6064178"/>
            <a:ext cx="3657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rgbClr val="404040"/>
                </a:solidFill>
                <a:latin typeface="Segoe UI"/>
              </a:rPr>
              <a:t>Refer to </a:t>
            </a:r>
            <a:r>
              <a:rPr lang="en-US" sz="1400" i="1" dirty="0">
                <a:solidFill>
                  <a:srgbClr val="404040"/>
                </a:solidFill>
                <a:latin typeface="Segoe UI"/>
                <a:hlinkClick r:id="rId3"/>
              </a:rPr>
              <a:t>this TechNet article</a:t>
            </a:r>
            <a:r>
              <a:rPr lang="en-US" sz="1400" i="1" dirty="0">
                <a:solidFill>
                  <a:srgbClr val="404040"/>
                </a:solidFill>
                <a:latin typeface="Segoe UI"/>
              </a:rPr>
              <a:t> for the list of compliances that ADF is certified for.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CDC112D-8A3F-455E-9A3F-2F48B5DEB050}"/>
              </a:ext>
            </a:extLst>
          </p:cNvPr>
          <p:cNvSpPr txBox="1"/>
          <p:nvPr/>
        </p:nvSpPr>
        <p:spPr>
          <a:xfrm>
            <a:off x="6394492" y="1336954"/>
            <a:ext cx="3384192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REDENTIAL MANAGEMEN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665403D-F61C-4855-ADBD-1718BF161F66}"/>
              </a:ext>
            </a:extLst>
          </p:cNvPr>
          <p:cNvSpPr txBox="1"/>
          <p:nvPr/>
        </p:nvSpPr>
        <p:spPr>
          <a:xfrm>
            <a:off x="6394493" y="1714611"/>
            <a:ext cx="5035507" cy="181588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commended: store credentials in Azure Key Vault </a:t>
            </a:r>
            <a:r>
              <a:rPr lang="en-US" sz="1600" dirty="0">
                <a:solidFill>
                  <a:srgbClr val="505050"/>
                </a:solidFill>
                <a:latin typeface="Segoe UI Semilight"/>
              </a:rPr>
              <a:t>and reference key vault secret from ADF</a:t>
            </a: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505050"/>
              </a:solidFill>
              <a:latin typeface="Segoe UI Semilight"/>
            </a:endParaRPr>
          </a:p>
          <a:p>
            <a:pPr defTabSz="89621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lternatively: supply credential inline in Linked Service </a:t>
            </a:r>
            <a:r>
              <a:rPr lang="en-US" sz="1600" dirty="0">
                <a:solidFill>
                  <a:srgbClr val="505050"/>
                </a:solidFill>
                <a:latin typeface="Segoe UI Semilight"/>
              </a:rPr>
              <a:t>and ADF will encrypt it at rest:</a:t>
            </a:r>
          </a:p>
          <a:p>
            <a:pPr marL="285750" indent="-285750" defTabSz="896214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600" dirty="0">
                <a:solidFill>
                  <a:srgbClr val="505050"/>
                </a:solidFill>
                <a:latin typeface="Segoe UI Semilight"/>
              </a:rPr>
              <a:t>Cloud creds are encrypted by ADF-managed certs</a:t>
            </a:r>
          </a:p>
          <a:p>
            <a:pPr marL="285750" indent="-285750" defTabSz="896214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600" dirty="0">
                <a:solidFill>
                  <a:srgbClr val="505050"/>
                </a:solidFill>
                <a:latin typeface="Segoe UI Semilight"/>
              </a:rPr>
              <a:t>On-prem creds are encrypted by Windows DPAPI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DA61E5E-5237-4C8E-AEDD-AE33314820ED}"/>
              </a:ext>
            </a:extLst>
          </p:cNvPr>
          <p:cNvSpPr txBox="1"/>
          <p:nvPr/>
        </p:nvSpPr>
        <p:spPr>
          <a:xfrm>
            <a:off x="883007" y="4516588"/>
            <a:ext cx="4798873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914093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 b="1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is transferred through secure channel HTTPS/TLS (V1.2) </a:t>
            </a:r>
            <a:r>
              <a:rPr lang="en-US" sz="1600" dirty="0">
                <a:solidFill>
                  <a:srgbClr val="505050"/>
                </a:solidFill>
                <a:latin typeface="Segoe UI Semilight"/>
              </a:rPr>
              <a:t>if data store supports HTTPS or TLS.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543D8F8-D3A3-42EA-8077-D61828447B15}"/>
              </a:ext>
            </a:extLst>
          </p:cNvPr>
          <p:cNvSpPr txBox="1"/>
          <p:nvPr/>
        </p:nvSpPr>
        <p:spPr>
          <a:xfrm>
            <a:off x="883007" y="4136700"/>
            <a:ext cx="3766270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ENCRYPTION IN TRANSI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7A9611B-D82C-4F68-A1E9-1BC0D8E51F06}"/>
              </a:ext>
            </a:extLst>
          </p:cNvPr>
          <p:cNvSpPr txBox="1"/>
          <p:nvPr/>
        </p:nvSpPr>
        <p:spPr>
          <a:xfrm>
            <a:off x="6394492" y="4133580"/>
            <a:ext cx="3766270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ENCRYPTION AT REST</a:t>
            </a:r>
          </a:p>
        </p:txBody>
      </p:sp>
    </p:spTree>
    <p:extLst>
      <p:ext uri="{BB962C8B-B14F-4D97-AF65-F5344CB8AC3E}">
        <p14:creationId xmlns:p14="http://schemas.microsoft.com/office/powerpoint/2010/main" val="117833070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8DE24E2-D124-4042-89D2-4E4CF627321D}"/>
              </a:ext>
            </a:extLst>
          </p:cNvPr>
          <p:cNvSpPr/>
          <p:nvPr/>
        </p:nvSpPr>
        <p:spPr>
          <a:xfrm>
            <a:off x="637524" y="1652169"/>
            <a:ext cx="3805696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AB26C-C870-4F02-BC66-D5E41AF9A439}"/>
              </a:ext>
            </a:extLst>
          </p:cNvPr>
          <p:cNvSpPr/>
          <p:nvPr/>
        </p:nvSpPr>
        <p:spPr>
          <a:xfrm>
            <a:off x="5784656" y="1652170"/>
            <a:ext cx="5608534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1EE0BF-CDBD-4083-953A-F650FC5E991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9557" y="5933325"/>
            <a:ext cx="454112" cy="7306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EEDED4-01C4-4277-BAAB-F4547A8566A3}"/>
              </a:ext>
            </a:extLst>
          </p:cNvPr>
          <p:cNvSpPr/>
          <p:nvPr/>
        </p:nvSpPr>
        <p:spPr>
          <a:xfrm>
            <a:off x="1249068" y="2139733"/>
            <a:ext cx="2657581" cy="3678847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C4710B-5CE9-410E-8B1C-FB22D0BF9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885" y="5521279"/>
            <a:ext cx="486548" cy="39777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3A7973-A024-423A-955A-A59A871F9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9694" y="4240221"/>
            <a:ext cx="503926" cy="6523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F00D78-A029-4BEA-A24D-89335779E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0297" y="4384121"/>
            <a:ext cx="503926" cy="65233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31B5FF1-38D7-4E89-9F16-3933963C4AE7}"/>
              </a:ext>
            </a:extLst>
          </p:cNvPr>
          <p:cNvSpPr txBox="1"/>
          <p:nvPr/>
        </p:nvSpPr>
        <p:spPr>
          <a:xfrm>
            <a:off x="934725" y="5851707"/>
            <a:ext cx="1287380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Corporate Firewall Boundar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9D5C46-E407-40AB-91D8-0706F3F4B1D9}"/>
              </a:ext>
            </a:extLst>
          </p:cNvPr>
          <p:cNvSpPr txBox="1"/>
          <p:nvPr/>
        </p:nvSpPr>
        <p:spPr>
          <a:xfrm>
            <a:off x="1827506" y="5182306"/>
            <a:ext cx="909509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Data stor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533553-1E1B-4891-B3B1-18D6891A637F}"/>
              </a:ext>
            </a:extLst>
          </p:cNvPr>
          <p:cNvSpPr txBox="1"/>
          <p:nvPr/>
        </p:nvSpPr>
        <p:spPr>
          <a:xfrm>
            <a:off x="3380693" y="4326770"/>
            <a:ext cx="11109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Self-hosted IR on premises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6195EEF-9854-45D9-9374-C3ADCDDA0500}"/>
              </a:ext>
            </a:extLst>
          </p:cNvPr>
          <p:cNvSpPr txBox="1"/>
          <p:nvPr/>
        </p:nvSpPr>
        <p:spPr>
          <a:xfrm>
            <a:off x="9435122" y="5093318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HDInsigh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01B77-4E67-4830-A6AB-33D74BAA5A3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88066" y="5917090"/>
            <a:ext cx="729823" cy="746845"/>
          </a:xfrm>
          <a:prstGeom prst="rect">
            <a:avLst/>
          </a:prstGeom>
        </p:spPr>
      </p:pic>
      <p:pic>
        <p:nvPicPr>
          <p:cNvPr id="1221" name="Picture 1220">
            <a:extLst>
              <a:ext uri="{FF2B5EF4-FFF2-40B4-BE49-F238E27FC236}">
                <a16:creationId xmlns:a16="http://schemas.microsoft.com/office/drawing/2014/main" id="{0F1417BC-1407-43AB-A715-8BA201E3BA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2098" y="4456145"/>
            <a:ext cx="707812" cy="708575"/>
          </a:xfrm>
          <a:prstGeom prst="rect">
            <a:avLst/>
          </a:prstGeom>
        </p:spPr>
      </p:pic>
      <p:pic>
        <p:nvPicPr>
          <p:cNvPr id="1229" name="Picture 1228">
            <a:extLst>
              <a:ext uri="{FF2B5EF4-FFF2-40B4-BE49-F238E27FC236}">
                <a16:creationId xmlns:a16="http://schemas.microsoft.com/office/drawing/2014/main" id="{67EA0156-4076-4159-9C12-F6473C15F7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7890" y="4428765"/>
            <a:ext cx="601213" cy="664555"/>
          </a:xfrm>
          <a:prstGeom prst="rect">
            <a:avLst/>
          </a:prstGeom>
        </p:spPr>
      </p:pic>
      <p:pic>
        <p:nvPicPr>
          <p:cNvPr id="1230" name="Picture 1229">
            <a:extLst>
              <a:ext uri="{FF2B5EF4-FFF2-40B4-BE49-F238E27FC236}">
                <a16:creationId xmlns:a16="http://schemas.microsoft.com/office/drawing/2014/main" id="{2960305D-A317-4B0A-A2AF-8651140B4A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22322" y="2146242"/>
            <a:ext cx="567139" cy="567750"/>
          </a:xfrm>
          <a:prstGeom prst="rect">
            <a:avLst/>
          </a:prstGeom>
        </p:spPr>
      </p:pic>
      <p:sp>
        <p:nvSpPr>
          <p:cNvPr id="249" name="TextBox 248">
            <a:extLst>
              <a:ext uri="{FF2B5EF4-FFF2-40B4-BE49-F238E27FC236}">
                <a16:creationId xmlns:a16="http://schemas.microsoft.com/office/drawing/2014/main" id="{BF797EDB-12C8-4780-85C7-B84F81354704}"/>
              </a:ext>
            </a:extLst>
          </p:cNvPr>
          <p:cNvSpPr txBox="1"/>
          <p:nvPr/>
        </p:nvSpPr>
        <p:spPr>
          <a:xfrm>
            <a:off x="7968783" y="2747154"/>
            <a:ext cx="938119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Data Factory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667FF4-DDDC-4E6A-8B66-2EC066BE5F4D}"/>
              </a:ext>
            </a:extLst>
          </p:cNvPr>
          <p:cNvSpPr txBox="1"/>
          <p:nvPr/>
        </p:nvSpPr>
        <p:spPr>
          <a:xfrm>
            <a:off x="7382453" y="511155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Azure SQL DB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95E952F4-9713-4FA4-8FA0-B31F577A5609}"/>
              </a:ext>
            </a:extLst>
          </p:cNvPr>
          <p:cNvSpPr txBox="1"/>
          <p:nvPr/>
        </p:nvSpPr>
        <p:spPr>
          <a:xfrm>
            <a:off x="8360167" y="5102438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Azure SQL DW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371C9BBF-BC07-4FAA-999C-E1E01231EB47}"/>
              </a:ext>
            </a:extLst>
          </p:cNvPr>
          <p:cNvSpPr txBox="1"/>
          <p:nvPr/>
        </p:nvSpPr>
        <p:spPr>
          <a:xfrm>
            <a:off x="7529603" y="5373026"/>
            <a:ext cx="781468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FFFFFF"/>
                </a:solidFill>
                <a:latin typeface="Segoe UI"/>
              </a:rPr>
              <a:t>VNet ACL</a:t>
            </a:r>
          </a:p>
        </p:txBody>
      </p:sp>
      <p:pic>
        <p:nvPicPr>
          <p:cNvPr id="1234" name="Picture 1233">
            <a:extLst>
              <a:ext uri="{FF2B5EF4-FFF2-40B4-BE49-F238E27FC236}">
                <a16:creationId xmlns:a16="http://schemas.microsoft.com/office/drawing/2014/main" id="{20A66531-6362-4FE8-BA88-11CA22F31F8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33606" y="4501830"/>
            <a:ext cx="647531" cy="562434"/>
          </a:xfrm>
          <a:prstGeom prst="rect">
            <a:avLst/>
          </a:prstGeom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E3F936EC-DDB2-4D78-A1D7-0EE015221925}"/>
              </a:ext>
            </a:extLst>
          </p:cNvPr>
          <p:cNvSpPr txBox="1"/>
          <p:nvPr/>
        </p:nvSpPr>
        <p:spPr>
          <a:xfrm>
            <a:off x="6375439" y="511155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Azure Storage</a:t>
            </a:r>
          </a:p>
        </p:txBody>
      </p:sp>
      <p:pic>
        <p:nvPicPr>
          <p:cNvPr id="1236" name="Picture 1235">
            <a:extLst>
              <a:ext uri="{FF2B5EF4-FFF2-40B4-BE49-F238E27FC236}">
                <a16:creationId xmlns:a16="http://schemas.microsoft.com/office/drawing/2014/main" id="{157EE181-A6B5-459B-9322-884F5E25B06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39694" y="2876538"/>
            <a:ext cx="637808" cy="481673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206370D-C168-4006-A5DE-37D45605287E}"/>
              </a:ext>
            </a:extLst>
          </p:cNvPr>
          <p:cNvCxnSpPr>
            <a:cxnSpLocks/>
            <a:stCxn id="236" idx="3"/>
            <a:endCxn id="1230" idx="1"/>
          </p:cNvCxnSpPr>
          <p:nvPr/>
        </p:nvCxnSpPr>
        <p:spPr>
          <a:xfrm flipV="1">
            <a:off x="3699245" y="2430118"/>
            <a:ext cx="4423077" cy="1540498"/>
          </a:xfrm>
          <a:prstGeom prst="bentConnector3">
            <a:avLst>
              <a:gd name="adj1" fmla="val 80553"/>
            </a:avLst>
          </a:prstGeom>
          <a:ln w="15875"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BF976DF4-282F-4B0A-8F3A-37E99F8C2C2D}"/>
              </a:ext>
            </a:extLst>
          </p:cNvPr>
          <p:cNvGrpSpPr/>
          <p:nvPr/>
        </p:nvGrpSpPr>
        <p:grpSpPr>
          <a:xfrm>
            <a:off x="3057494" y="3693818"/>
            <a:ext cx="804099" cy="665132"/>
            <a:chOff x="4755848" y="3687485"/>
            <a:chExt cx="804308" cy="665305"/>
          </a:xfrm>
        </p:grpSpPr>
        <p:pic>
          <p:nvPicPr>
            <p:cNvPr id="236" name="Picture 235">
              <a:extLst>
                <a:ext uri="{FF2B5EF4-FFF2-40B4-BE49-F238E27FC236}">
                  <a16:creationId xmlns:a16="http://schemas.microsoft.com/office/drawing/2014/main" id="{1B5DDB19-8165-419F-83FD-D62C09A13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755848" y="3687485"/>
              <a:ext cx="641917" cy="553737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30458BDE-9F40-4FB7-823D-0BE1D02D7D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125623" y="3975790"/>
              <a:ext cx="434533" cy="377000"/>
            </a:xfrm>
            <a:prstGeom prst="rect">
              <a:avLst/>
            </a:prstGeom>
          </p:spPr>
        </p:pic>
      </p:grp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79B815A8-A4B2-45D9-A8B9-F891D3F6C5C1}"/>
              </a:ext>
            </a:extLst>
          </p:cNvPr>
          <p:cNvCxnSpPr>
            <a:cxnSpLocks/>
            <a:stCxn id="236" idx="0"/>
            <a:endCxn id="1236" idx="3"/>
          </p:cNvCxnSpPr>
          <p:nvPr/>
        </p:nvCxnSpPr>
        <p:spPr>
          <a:xfrm rot="16200000" flipV="1">
            <a:off x="2639715" y="2955164"/>
            <a:ext cx="576445" cy="900867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93BDDB47-2404-4890-9099-7F8DA2BE8308}"/>
              </a:ext>
            </a:extLst>
          </p:cNvPr>
          <p:cNvCxnSpPr>
            <a:cxnSpLocks/>
            <a:stCxn id="236" idx="2"/>
          </p:cNvCxnSpPr>
          <p:nvPr/>
        </p:nvCxnSpPr>
        <p:spPr>
          <a:xfrm rot="5400000">
            <a:off x="2796809" y="3984825"/>
            <a:ext cx="318975" cy="844146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10C2879B-CB1B-4459-9A7D-5131FE880DED}"/>
              </a:ext>
            </a:extLst>
          </p:cNvPr>
          <p:cNvCxnSpPr>
            <a:cxnSpLocks/>
            <a:stCxn id="71" idx="3"/>
            <a:endCxn id="1234" idx="0"/>
          </p:cNvCxnSpPr>
          <p:nvPr/>
        </p:nvCxnSpPr>
        <p:spPr>
          <a:xfrm>
            <a:off x="3861593" y="4170499"/>
            <a:ext cx="3095779" cy="331331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E87B1090-CA6D-49CD-A850-32EC018C88FC}"/>
              </a:ext>
            </a:extLst>
          </p:cNvPr>
          <p:cNvCxnSpPr>
            <a:cxnSpLocks/>
            <a:endCxn id="1221" idx="0"/>
          </p:cNvCxnSpPr>
          <p:nvPr/>
        </p:nvCxnSpPr>
        <p:spPr>
          <a:xfrm>
            <a:off x="3875660" y="4179110"/>
            <a:ext cx="4060344" cy="277035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101E42EA-07F6-43E1-ACE4-FED5FABDF670}"/>
              </a:ext>
            </a:extLst>
          </p:cNvPr>
          <p:cNvCxnSpPr>
            <a:cxnSpLocks/>
            <a:stCxn id="71" idx="3"/>
            <a:endCxn id="1229" idx="0"/>
          </p:cNvCxnSpPr>
          <p:nvPr/>
        </p:nvCxnSpPr>
        <p:spPr>
          <a:xfrm>
            <a:off x="3861593" y="4170499"/>
            <a:ext cx="4966904" cy="258266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9453069C-9E3B-4AC5-83C4-1C3525E30F26}"/>
              </a:ext>
            </a:extLst>
          </p:cNvPr>
          <p:cNvCxnSpPr>
            <a:cxnSpLocks/>
            <a:endCxn id="37" idx="0"/>
          </p:cNvCxnSpPr>
          <p:nvPr/>
        </p:nvCxnSpPr>
        <p:spPr>
          <a:xfrm>
            <a:off x="4947598" y="4179160"/>
            <a:ext cx="4942964" cy="27885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itle 1">
            <a:extLst>
              <a:ext uri="{FF2B5EF4-FFF2-40B4-BE49-F238E27FC236}">
                <a16:creationId xmlns:a16="http://schemas.microsoft.com/office/drawing/2014/main" id="{0BCBD213-7F52-4D2C-B32F-B85CBB4F7A3F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3918">
              <a:lnSpc>
                <a:spcPct val="110000"/>
              </a:lnSpc>
            </a:pPr>
            <a:r>
              <a:rPr lang="en-US" sz="8300" b="1" dirty="0">
                <a:solidFill>
                  <a:srgbClr val="0078D7"/>
                </a:solidFill>
                <a:latin typeface="Segoe UI Light (Headings)"/>
              </a:rPr>
              <a:t>Hybrid Integration Between On-prem and Public Azure</a:t>
            </a:r>
          </a:p>
          <a:p>
            <a:pPr defTabSz="914093"/>
            <a:endParaRPr lang="en-US" sz="5098" dirty="0">
              <a:gradFill>
                <a:gsLst>
                  <a:gs pos="1250">
                    <a:srgbClr val="404040"/>
                  </a:gs>
                  <a:gs pos="100000">
                    <a:srgbClr val="404040"/>
                  </a:gs>
                </a:gsLst>
                <a:lin ang="5400000" scaled="0"/>
              </a:gradFill>
              <a:latin typeface="Segoe UI Light"/>
            </a:endParaRPr>
          </a:p>
          <a:p>
            <a:pPr defTabSz="914093"/>
            <a:r>
              <a:rPr lang="en-US" sz="7000" dirty="0">
                <a:gradFill>
                  <a:gsLst>
                    <a:gs pos="125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rPr>
              <a:t>Self-hosted IR deployed on premise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D5A4021-1C0D-402E-8688-4369CD7EBED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384661" y="4458012"/>
            <a:ext cx="1011801" cy="65006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DD6E6FE0-D601-4D7C-87D4-6CBB4B6D02A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40017" y="4434560"/>
            <a:ext cx="710383" cy="60826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EC7AFE73-36AA-4C33-BA5A-ECBBC451F9C2}"/>
              </a:ext>
            </a:extLst>
          </p:cNvPr>
          <p:cNvSpPr txBox="1"/>
          <p:nvPr/>
        </p:nvSpPr>
        <p:spPr>
          <a:xfrm>
            <a:off x="10270838" y="5093318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Databricks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6105F216-77D6-426C-92F6-50668C5F5D37}"/>
              </a:ext>
            </a:extLst>
          </p:cNvPr>
          <p:cNvCxnSpPr>
            <a:cxnSpLocks/>
            <a:stCxn id="71" idx="3"/>
            <a:endCxn id="38" idx="0"/>
          </p:cNvCxnSpPr>
          <p:nvPr/>
        </p:nvCxnSpPr>
        <p:spPr>
          <a:xfrm>
            <a:off x="3861593" y="4170499"/>
            <a:ext cx="6833616" cy="264061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68034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8DE24E2-D124-4042-89D2-4E4CF627321D}"/>
              </a:ext>
            </a:extLst>
          </p:cNvPr>
          <p:cNvSpPr/>
          <p:nvPr/>
        </p:nvSpPr>
        <p:spPr>
          <a:xfrm>
            <a:off x="637524" y="1652169"/>
            <a:ext cx="3805696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BAB26C-C870-4F02-BC66-D5E41AF9A439}"/>
              </a:ext>
            </a:extLst>
          </p:cNvPr>
          <p:cNvSpPr/>
          <p:nvPr/>
        </p:nvSpPr>
        <p:spPr>
          <a:xfrm>
            <a:off x="5679564" y="1652170"/>
            <a:ext cx="5713627" cy="4629223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1EE0BF-CDBD-4083-953A-F650FC5E991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9557" y="5933325"/>
            <a:ext cx="454112" cy="7306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EEDED4-01C4-4277-BAAB-F4547A8566A3}"/>
              </a:ext>
            </a:extLst>
          </p:cNvPr>
          <p:cNvSpPr/>
          <p:nvPr/>
        </p:nvSpPr>
        <p:spPr>
          <a:xfrm>
            <a:off x="1249068" y="2139733"/>
            <a:ext cx="2657581" cy="3678847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C4710B-5CE9-410E-8B1C-FB22D0BF9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885" y="5521279"/>
            <a:ext cx="486548" cy="39777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73A7973-A024-423A-955A-A59A871F9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0033" y="4026384"/>
            <a:ext cx="503926" cy="6523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F00D78-A029-4BEA-A24D-89335779E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0636" y="4170285"/>
            <a:ext cx="503926" cy="65233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31B5FF1-38D7-4E89-9F16-3933963C4AE7}"/>
              </a:ext>
            </a:extLst>
          </p:cNvPr>
          <p:cNvSpPr txBox="1"/>
          <p:nvPr/>
        </p:nvSpPr>
        <p:spPr>
          <a:xfrm>
            <a:off x="934725" y="5851707"/>
            <a:ext cx="1287380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Corporate Firewall Boundar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9E4EED-A5AC-46CB-B841-853A09311992}"/>
              </a:ext>
            </a:extLst>
          </p:cNvPr>
          <p:cNvSpPr/>
          <p:nvPr/>
        </p:nvSpPr>
        <p:spPr>
          <a:xfrm>
            <a:off x="6212119" y="3742016"/>
            <a:ext cx="4779259" cy="2076564"/>
          </a:xfrm>
          <a:prstGeom prst="rect">
            <a:avLst/>
          </a:prstGeom>
          <a:ln w="15875">
            <a:solidFill>
              <a:schemeClr val="accent1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D81EBDA-155F-457B-AD21-17E89FE64D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91904" y="5521280"/>
            <a:ext cx="898963" cy="65449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09F0334-D3BB-49AA-843D-EDBF47B4836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33833" y="4003485"/>
            <a:ext cx="669005" cy="54795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D4564CC-F199-4210-89B9-E3BBE27CFBF0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479054" y="4316510"/>
            <a:ext cx="434420" cy="37690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EA81003-0CC9-4C15-9AF7-148BEC5E1B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43690" y="4885364"/>
            <a:ext cx="669005" cy="54795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58C5673-5C8F-4E8F-96AE-80B34B51F3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37194" y="5224515"/>
            <a:ext cx="269339" cy="339212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79D5C46-E407-40AB-91D8-0706F3F4B1D9}"/>
              </a:ext>
            </a:extLst>
          </p:cNvPr>
          <p:cNvSpPr txBox="1"/>
          <p:nvPr/>
        </p:nvSpPr>
        <p:spPr>
          <a:xfrm>
            <a:off x="2107845" y="4968470"/>
            <a:ext cx="909509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Data stor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1C0E2AA-8868-49B0-AC07-8A1F034B4342}"/>
              </a:ext>
            </a:extLst>
          </p:cNvPr>
          <p:cNvSpPr txBox="1"/>
          <p:nvPr/>
        </p:nvSpPr>
        <p:spPr>
          <a:xfrm>
            <a:off x="6710909" y="5504580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Data store on V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533553-1E1B-4891-B3B1-18D6891A637F}"/>
              </a:ext>
            </a:extLst>
          </p:cNvPr>
          <p:cNvSpPr txBox="1"/>
          <p:nvPr/>
        </p:nvSpPr>
        <p:spPr>
          <a:xfrm>
            <a:off x="7895070" y="4645965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ADF IR on VM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6195EEF-9854-45D9-9374-C3ADCDDA0500}"/>
              </a:ext>
            </a:extLst>
          </p:cNvPr>
          <p:cNvSpPr txBox="1"/>
          <p:nvPr/>
        </p:nvSpPr>
        <p:spPr>
          <a:xfrm>
            <a:off x="9083081" y="5485022"/>
            <a:ext cx="128738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HDInsigh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01B77-4E67-4830-A6AB-33D74BAA5A38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988066" y="5917090"/>
            <a:ext cx="729823" cy="746845"/>
          </a:xfrm>
          <a:prstGeom prst="rect">
            <a:avLst/>
          </a:prstGeom>
        </p:spPr>
      </p:pic>
      <p:sp>
        <p:nvSpPr>
          <p:cNvPr id="235" name="Rectangle 234">
            <a:extLst>
              <a:ext uri="{FF2B5EF4-FFF2-40B4-BE49-F238E27FC236}">
                <a16:creationId xmlns:a16="http://schemas.microsoft.com/office/drawing/2014/main" id="{BA41ADEA-48F1-41F1-8190-8EB449D50638}"/>
              </a:ext>
            </a:extLst>
          </p:cNvPr>
          <p:cNvSpPr/>
          <p:nvPr/>
        </p:nvSpPr>
        <p:spPr>
          <a:xfrm>
            <a:off x="8002674" y="1909560"/>
            <a:ext cx="2988702" cy="1092762"/>
          </a:xfrm>
          <a:prstGeom prst="rect">
            <a:avLst/>
          </a:prstGeom>
          <a:noFill/>
          <a:ln w="158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221" name="Picture 1220">
            <a:extLst>
              <a:ext uri="{FF2B5EF4-FFF2-40B4-BE49-F238E27FC236}">
                <a16:creationId xmlns:a16="http://schemas.microsoft.com/office/drawing/2014/main" id="{0F1417BC-1407-43AB-A715-8BA201E3BA1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58786" y="2085367"/>
            <a:ext cx="707812" cy="708575"/>
          </a:xfrm>
          <a:prstGeom prst="rect">
            <a:avLst/>
          </a:prstGeom>
        </p:spPr>
      </p:pic>
      <p:pic>
        <p:nvPicPr>
          <p:cNvPr id="1229" name="Picture 1228">
            <a:extLst>
              <a:ext uri="{FF2B5EF4-FFF2-40B4-BE49-F238E27FC236}">
                <a16:creationId xmlns:a16="http://schemas.microsoft.com/office/drawing/2014/main" id="{67EA0156-4076-4159-9C12-F6473C15F7B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04578" y="2057987"/>
            <a:ext cx="601213" cy="664555"/>
          </a:xfrm>
          <a:prstGeom prst="rect">
            <a:avLst/>
          </a:prstGeom>
        </p:spPr>
      </p:pic>
      <p:pic>
        <p:nvPicPr>
          <p:cNvPr id="1230" name="Picture 1229">
            <a:extLst>
              <a:ext uri="{FF2B5EF4-FFF2-40B4-BE49-F238E27FC236}">
                <a16:creationId xmlns:a16="http://schemas.microsoft.com/office/drawing/2014/main" id="{2960305D-A317-4B0A-A2AF-8651140B4A3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85010" y="2139733"/>
            <a:ext cx="567139" cy="567750"/>
          </a:xfrm>
          <a:prstGeom prst="rect">
            <a:avLst/>
          </a:prstGeom>
        </p:spPr>
      </p:pic>
      <p:sp>
        <p:nvSpPr>
          <p:cNvPr id="249" name="TextBox 248">
            <a:extLst>
              <a:ext uri="{FF2B5EF4-FFF2-40B4-BE49-F238E27FC236}">
                <a16:creationId xmlns:a16="http://schemas.microsoft.com/office/drawing/2014/main" id="{BF797EDB-12C8-4780-85C7-B84F81354704}"/>
              </a:ext>
            </a:extLst>
          </p:cNvPr>
          <p:cNvSpPr txBox="1"/>
          <p:nvPr/>
        </p:nvSpPr>
        <p:spPr>
          <a:xfrm>
            <a:off x="6439444" y="2758309"/>
            <a:ext cx="938119" cy="430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Data Factory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41667FF4-DDDC-4E6A-8B66-2EC066BE5F4D}"/>
              </a:ext>
            </a:extLst>
          </p:cNvPr>
          <p:cNvSpPr txBox="1"/>
          <p:nvPr/>
        </p:nvSpPr>
        <p:spPr>
          <a:xfrm>
            <a:off x="8959141" y="2740781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Azure SQL DB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95E952F4-9713-4FA4-8FA0-B31F577A5609}"/>
              </a:ext>
            </a:extLst>
          </p:cNvPr>
          <p:cNvSpPr txBox="1"/>
          <p:nvPr/>
        </p:nvSpPr>
        <p:spPr>
          <a:xfrm>
            <a:off x="9936856" y="2731661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Azure SQL DW</a:t>
            </a:r>
          </a:p>
        </p:txBody>
      </p:sp>
      <p:sp>
        <p:nvSpPr>
          <p:cNvPr id="1231" name="Rectangle 1230">
            <a:extLst>
              <a:ext uri="{FF2B5EF4-FFF2-40B4-BE49-F238E27FC236}">
                <a16:creationId xmlns:a16="http://schemas.microsoft.com/office/drawing/2014/main" id="{4E676260-7802-4AC0-A4DD-7D129C7D8EFC}"/>
              </a:ext>
            </a:extLst>
          </p:cNvPr>
          <p:cNvSpPr/>
          <p:nvPr/>
        </p:nvSpPr>
        <p:spPr>
          <a:xfrm>
            <a:off x="7997222" y="3015866"/>
            <a:ext cx="2994154" cy="306793"/>
          </a:xfrm>
          <a:prstGeom prst="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371C9BBF-BC07-4FAA-999C-E1E01231EB47}"/>
              </a:ext>
            </a:extLst>
          </p:cNvPr>
          <p:cNvSpPr txBox="1"/>
          <p:nvPr/>
        </p:nvSpPr>
        <p:spPr>
          <a:xfrm>
            <a:off x="9106291" y="3002248"/>
            <a:ext cx="781468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FFFFFF"/>
                </a:solidFill>
                <a:latin typeface="Segoe UI"/>
              </a:rPr>
              <a:t>VNet ACL</a:t>
            </a:r>
          </a:p>
        </p:txBody>
      </p:sp>
      <p:pic>
        <p:nvPicPr>
          <p:cNvPr id="1234" name="Picture 1233">
            <a:extLst>
              <a:ext uri="{FF2B5EF4-FFF2-40B4-BE49-F238E27FC236}">
                <a16:creationId xmlns:a16="http://schemas.microsoft.com/office/drawing/2014/main" id="{20A66531-6362-4FE8-BA88-11CA22F31F8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10294" y="2131053"/>
            <a:ext cx="647531" cy="562434"/>
          </a:xfrm>
          <a:prstGeom prst="rect">
            <a:avLst/>
          </a:prstGeom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E3F936EC-DDB2-4D78-A1D7-0EE015221925}"/>
              </a:ext>
            </a:extLst>
          </p:cNvPr>
          <p:cNvSpPr txBox="1"/>
          <p:nvPr/>
        </p:nvSpPr>
        <p:spPr>
          <a:xfrm>
            <a:off x="8008023" y="2727239"/>
            <a:ext cx="1105442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Azure Storage</a:t>
            </a:r>
          </a:p>
        </p:txBody>
      </p:sp>
      <p:sp>
        <p:nvSpPr>
          <p:cNvPr id="1235" name="Arrow: Down 1234">
            <a:extLst>
              <a:ext uri="{FF2B5EF4-FFF2-40B4-BE49-F238E27FC236}">
                <a16:creationId xmlns:a16="http://schemas.microsoft.com/office/drawing/2014/main" id="{7655BFC8-3B9D-4230-A31F-2E77044AC8EA}"/>
              </a:ext>
            </a:extLst>
          </p:cNvPr>
          <p:cNvSpPr/>
          <p:nvPr/>
        </p:nvSpPr>
        <p:spPr>
          <a:xfrm>
            <a:off x="8916086" y="3275391"/>
            <a:ext cx="1111453" cy="780249"/>
          </a:xfrm>
          <a:prstGeom prst="downArrow">
            <a:avLst>
              <a:gd name="adj1" fmla="val 54069"/>
              <a:gd name="adj2" fmla="val 44354"/>
            </a:avLst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srgbClr val="404040"/>
              </a:solidFill>
              <a:latin typeface="Segoe UI"/>
            </a:endParaRPr>
          </a:p>
        </p:txBody>
      </p:sp>
      <p:pic>
        <p:nvPicPr>
          <p:cNvPr id="1236" name="Picture 1235">
            <a:extLst>
              <a:ext uri="{FF2B5EF4-FFF2-40B4-BE49-F238E27FC236}">
                <a16:creationId xmlns:a16="http://schemas.microsoft.com/office/drawing/2014/main" id="{157EE181-A6B5-459B-9322-884F5E25B06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76754" y="3093095"/>
            <a:ext cx="637808" cy="481673"/>
          </a:xfrm>
          <a:prstGeom prst="rect">
            <a:avLst/>
          </a:prstGeom>
        </p:spPr>
      </p:pic>
      <p:cxnSp>
        <p:nvCxnSpPr>
          <p:cNvPr id="1240" name="Connector: Elbow 1239">
            <a:extLst>
              <a:ext uri="{FF2B5EF4-FFF2-40B4-BE49-F238E27FC236}">
                <a16:creationId xmlns:a16="http://schemas.microsoft.com/office/drawing/2014/main" id="{5233E171-9FF9-43AD-9C85-39FACB74F364}"/>
              </a:ext>
            </a:extLst>
          </p:cNvPr>
          <p:cNvCxnSpPr>
            <a:cxnSpLocks/>
            <a:stCxn id="28" idx="3"/>
            <a:endCxn id="1235" idx="2"/>
          </p:cNvCxnSpPr>
          <p:nvPr/>
        </p:nvCxnSpPr>
        <p:spPr>
          <a:xfrm flipV="1">
            <a:off x="8702836" y="4055639"/>
            <a:ext cx="768976" cy="221824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44" name="Picture 1243">
            <a:extLst>
              <a:ext uri="{FF2B5EF4-FFF2-40B4-BE49-F238E27FC236}">
                <a16:creationId xmlns:a16="http://schemas.microsoft.com/office/drawing/2014/main" id="{0C5F139B-5BFC-44E8-B8FD-068E03E9DC3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978819" y="4619907"/>
            <a:ext cx="405457" cy="405894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206370D-C168-4006-A5DE-37D45605287E}"/>
              </a:ext>
            </a:extLst>
          </p:cNvPr>
          <p:cNvCxnSpPr>
            <a:cxnSpLocks/>
            <a:stCxn id="249" idx="2"/>
            <a:endCxn id="28" idx="1"/>
          </p:cNvCxnSpPr>
          <p:nvPr/>
        </p:nvCxnSpPr>
        <p:spPr>
          <a:xfrm rot="16200000" flipH="1">
            <a:off x="6926977" y="3170609"/>
            <a:ext cx="1088380" cy="1125329"/>
          </a:xfrm>
          <a:prstGeom prst="bentConnector2">
            <a:avLst/>
          </a:prstGeom>
          <a:ln w="15875"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4B4BB159-5761-47BD-B813-61FF7FB5FBDB}"/>
              </a:ext>
            </a:extLst>
          </p:cNvPr>
          <p:cNvCxnSpPr>
            <a:cxnSpLocks/>
            <a:endCxn id="31" idx="0"/>
          </p:cNvCxnSpPr>
          <p:nvPr/>
        </p:nvCxnSpPr>
        <p:spPr>
          <a:xfrm rot="10800000" flipV="1">
            <a:off x="7278192" y="4412270"/>
            <a:ext cx="719030" cy="47309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41D10C5E-EC3C-424B-A6A3-4D4BD48303DA}"/>
              </a:ext>
            </a:extLst>
          </p:cNvPr>
          <p:cNvCxnSpPr>
            <a:cxnSpLocks/>
            <a:stCxn id="29" idx="3"/>
            <a:endCxn id="49" idx="0"/>
          </p:cNvCxnSpPr>
          <p:nvPr/>
        </p:nvCxnSpPr>
        <p:spPr>
          <a:xfrm>
            <a:off x="8913474" y="4504961"/>
            <a:ext cx="535992" cy="353212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>
            <a:extLst>
              <a:ext uri="{FF2B5EF4-FFF2-40B4-BE49-F238E27FC236}">
                <a16:creationId xmlns:a16="http://schemas.microsoft.com/office/drawing/2014/main" id="{8BEB9CB1-2A52-4403-8494-2C1E01F1636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744357" y="4619907"/>
            <a:ext cx="405457" cy="405894"/>
          </a:xfrm>
          <a:prstGeom prst="rect">
            <a:avLst/>
          </a:prstGeom>
        </p:spPr>
      </p:pic>
      <p:cxnSp>
        <p:nvCxnSpPr>
          <p:cNvPr id="225" name="Straight Arrow Connector 224">
            <a:extLst>
              <a:ext uri="{FF2B5EF4-FFF2-40B4-BE49-F238E27FC236}">
                <a16:creationId xmlns:a16="http://schemas.microsoft.com/office/drawing/2014/main" id="{FA65D759-D749-4330-AC9E-A1C61564C84B}"/>
              </a:ext>
            </a:extLst>
          </p:cNvPr>
          <p:cNvCxnSpPr>
            <a:stCxn id="59" idx="3"/>
            <a:endCxn id="1244" idx="1"/>
          </p:cNvCxnSpPr>
          <p:nvPr/>
        </p:nvCxnSpPr>
        <p:spPr>
          <a:xfrm>
            <a:off x="4149814" y="4822854"/>
            <a:ext cx="1829005" cy="0"/>
          </a:xfrm>
          <a:prstGeom prst="straightConnector1">
            <a:avLst/>
          </a:prstGeom>
          <a:ln w="158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26D153DB-99C5-4789-BE0D-DF112E7DEF87}"/>
              </a:ext>
            </a:extLst>
          </p:cNvPr>
          <p:cNvSpPr txBox="1"/>
          <p:nvPr/>
        </p:nvSpPr>
        <p:spPr>
          <a:xfrm>
            <a:off x="4506456" y="4827618"/>
            <a:ext cx="12873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Express Route</a:t>
            </a:r>
          </a:p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(private peering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643394F-0D18-44C6-AA5C-3989AB862FF6}"/>
              </a:ext>
            </a:extLst>
          </p:cNvPr>
          <p:cNvSpPr txBox="1"/>
          <p:nvPr/>
        </p:nvSpPr>
        <p:spPr>
          <a:xfrm>
            <a:off x="9087323" y="3295264"/>
            <a:ext cx="768976" cy="769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1100" dirty="0">
                <a:solidFill>
                  <a:srgbClr val="FFFFFF"/>
                </a:solidFill>
                <a:latin typeface="Segoe UI"/>
              </a:rPr>
              <a:t>VNet service endpoints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B741FB1B-6E81-4256-94A6-C8FA5E0DCAE0}"/>
              </a:ext>
            </a:extLst>
          </p:cNvPr>
          <p:cNvSpPr txBox="1">
            <a:spLocks/>
          </p:cNvSpPr>
          <p:nvPr/>
        </p:nvSpPr>
        <p:spPr>
          <a:xfrm>
            <a:off x="196561" y="155050"/>
            <a:ext cx="11521327" cy="1307418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algn="l" defTabSz="914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3918">
              <a:lnSpc>
                <a:spcPct val="110000"/>
              </a:lnSpc>
            </a:pPr>
            <a:r>
              <a:rPr lang="en-US" sz="5600" b="1" dirty="0">
                <a:solidFill>
                  <a:srgbClr val="0078D7"/>
                </a:solidFill>
                <a:latin typeface="Segoe UI Light (Headings)"/>
              </a:rPr>
              <a:t>Hybrid Integration Between On-prem and VNet</a:t>
            </a:r>
          </a:p>
          <a:p>
            <a:endParaRPr lang="en-US" sz="4000" b="1" dirty="0">
              <a:solidFill>
                <a:srgbClr val="0078D7"/>
              </a:solidFill>
              <a:latin typeface="Segoe UI Light"/>
            </a:endParaRPr>
          </a:p>
          <a:p>
            <a:r>
              <a:rPr lang="en-US" sz="4000" dirty="0">
                <a:gradFill>
                  <a:gsLst>
                    <a:gs pos="125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latin typeface="Segoe UI Light"/>
              </a:rPr>
              <a:t>Self-hosted IR deployed on VM inside VNet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F9A0605-EEDF-4AB4-A486-794E50CA724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972723" y="4846505"/>
            <a:ext cx="710383" cy="608265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48FA5D63-2B19-407E-A923-828BCD51326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943565" y="4858173"/>
            <a:ext cx="1011801" cy="650069"/>
          </a:xfrm>
          <a:prstGeom prst="rect">
            <a:avLst/>
          </a:prstGeom>
        </p:spPr>
      </p:pic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0E8A8E38-D337-429D-B384-89D33E1A769B}"/>
              </a:ext>
            </a:extLst>
          </p:cNvPr>
          <p:cNvCxnSpPr>
            <a:cxnSpLocks/>
            <a:stCxn id="29" idx="3"/>
            <a:endCxn id="45" idx="0"/>
          </p:cNvCxnSpPr>
          <p:nvPr/>
        </p:nvCxnSpPr>
        <p:spPr>
          <a:xfrm>
            <a:off x="8913474" y="4504961"/>
            <a:ext cx="1414441" cy="341544"/>
          </a:xfrm>
          <a:prstGeom prst="bentConnector2">
            <a:avLst/>
          </a:prstGeom>
          <a:ln w="15875"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32CCC090-6471-4AED-9EC6-45535F711CB6}"/>
              </a:ext>
            </a:extLst>
          </p:cNvPr>
          <p:cNvSpPr txBox="1"/>
          <p:nvPr/>
        </p:nvSpPr>
        <p:spPr>
          <a:xfrm>
            <a:off x="9946090" y="5477259"/>
            <a:ext cx="848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100" dirty="0">
                <a:solidFill>
                  <a:srgbClr val="00188F"/>
                </a:solidFill>
                <a:latin typeface="Segoe UI"/>
              </a:rPr>
              <a:t>Databricks</a:t>
            </a:r>
          </a:p>
        </p:txBody>
      </p:sp>
    </p:spTree>
    <p:extLst>
      <p:ext uri="{BB962C8B-B14F-4D97-AF65-F5344CB8AC3E}">
        <p14:creationId xmlns:p14="http://schemas.microsoft.com/office/powerpoint/2010/main" val="4286145922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Ingestion Pattern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9AE982C-1ED2-4F3F-B8A0-ADC970D0D2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0716" y="910748"/>
            <a:ext cx="11652043" cy="6001643"/>
          </a:xfrm>
        </p:spPr>
        <p:txBody>
          <a:bodyPr/>
          <a:lstStyle/>
          <a:p>
            <a:pPr marL="556750" indent="-457200"/>
            <a:r>
              <a:rPr lang="en-US" sz="2400" b="1" dirty="0"/>
              <a:t>Incremental loading</a:t>
            </a:r>
          </a:p>
          <a:p>
            <a:pPr marL="1004586" lvl="2" indent="-457063">
              <a:buFont typeface="+mj-lt"/>
              <a:buAutoNum type="arabicParenR"/>
            </a:pPr>
            <a:r>
              <a:rPr lang="en-US" sz="1800" dirty="0"/>
              <a:t>Use trigger system variables:</a:t>
            </a:r>
          </a:p>
          <a:p>
            <a:pPr marL="1004586" lvl="2" indent="-457063">
              <a:buFont typeface="+mj-lt"/>
              <a:buAutoNum type="arabicParenR"/>
            </a:pPr>
            <a:endParaRPr lang="en-US" sz="1800" dirty="0"/>
          </a:p>
          <a:p>
            <a:pPr marL="1004586" lvl="2" indent="-457063">
              <a:buFont typeface="+mj-lt"/>
              <a:buAutoNum type="arabicParenR"/>
            </a:pPr>
            <a:endParaRPr lang="en-US" sz="1800" dirty="0"/>
          </a:p>
          <a:p>
            <a:pPr marL="1004586" lvl="2" indent="-457063">
              <a:buFont typeface="+mj-lt"/>
              <a:buAutoNum type="arabicParenR"/>
            </a:pPr>
            <a:endParaRPr lang="en-US" sz="1800" dirty="0"/>
          </a:p>
          <a:p>
            <a:pPr marL="1004586" lvl="2" indent="-457063">
              <a:buFont typeface="+mj-lt"/>
              <a:buAutoNum type="arabicParenR"/>
            </a:pPr>
            <a:r>
              <a:rPr lang="en-US" sz="1800" dirty="0"/>
              <a:t>Use watermark column:</a:t>
            </a:r>
          </a:p>
          <a:p>
            <a:pPr lvl="2"/>
            <a:endParaRPr lang="en-US" sz="1800" dirty="0"/>
          </a:p>
          <a:p>
            <a:pPr lvl="2"/>
            <a:endParaRPr lang="en-US" sz="1800" dirty="0"/>
          </a:p>
          <a:p>
            <a:pPr marL="547523" lvl="2" indent="0">
              <a:buNone/>
            </a:pPr>
            <a:endParaRPr lang="en-US" sz="1800" dirty="0"/>
          </a:p>
          <a:p>
            <a:pPr marL="1004586" lvl="2" indent="-457063">
              <a:buFont typeface="+mj-lt"/>
              <a:buAutoNum type="arabicParenR" startAt="3"/>
            </a:pPr>
            <a:endParaRPr lang="en-US" sz="1800" b="1" dirty="0"/>
          </a:p>
          <a:p>
            <a:pPr marL="1004586" lvl="2" indent="-457063">
              <a:buFont typeface="+mj-lt"/>
              <a:buAutoNum type="arabicParenR" startAt="3"/>
            </a:pPr>
            <a:r>
              <a:rPr lang="en-US" sz="1800" dirty="0"/>
              <a:t>Using Change Tracking (Azure SQL DB, SQL Server</a:t>
            </a:r>
            <a:r>
              <a:rPr lang="en-US" sz="1408" dirty="0"/>
              <a:t>)</a:t>
            </a:r>
          </a:p>
          <a:p>
            <a:endParaRPr lang="en-US" sz="2400" b="1" dirty="0"/>
          </a:p>
          <a:p>
            <a:r>
              <a:rPr lang="en-US" sz="2400" b="1" dirty="0"/>
              <a:t>Delete/archive after load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 dirty="0"/>
              <a:t>For Azure Blob Storage and ADLS: use Web activity to call REST AP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 dirty="0"/>
              <a:t>For other data sources: use custom activity</a:t>
            </a:r>
          </a:p>
          <a:p>
            <a:r>
              <a:rPr lang="en-US" sz="2400" b="1" dirty="0"/>
              <a:t>Insert/update/delete on destina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 dirty="0"/>
              <a:t>For SQL Server/Azure SQL: use </a:t>
            </a:r>
            <a:r>
              <a:rPr lang="en-US" sz="1800" dirty="0" err="1"/>
              <a:t>sproc</a:t>
            </a:r>
            <a:r>
              <a:rPr lang="en-US" sz="1800" dirty="0"/>
              <a:t> for </a:t>
            </a:r>
            <a:r>
              <a:rPr lang="en-US" sz="1800" dirty="0" err="1"/>
              <a:t>upsert</a:t>
            </a:r>
            <a:endParaRPr lang="en-US" sz="1800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 dirty="0"/>
              <a:t>For other connectors: use custom activ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6BD3FD-93DB-4E03-9253-0A00491CCD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161" y="2385751"/>
            <a:ext cx="5801118" cy="15991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89A9178-F233-4162-A58E-95D61A841663}"/>
              </a:ext>
            </a:extLst>
          </p:cNvPr>
          <p:cNvSpPr/>
          <p:nvPr/>
        </p:nvSpPr>
        <p:spPr>
          <a:xfrm>
            <a:off x="4302161" y="1287337"/>
            <a:ext cx="6709968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indent="-600091"/>
            <a:r>
              <a:rPr lang="en-US" sz="1200" dirty="0"/>
              <a:t>SELECT </a:t>
            </a:r>
            <a:r>
              <a:rPr lang="en-US" sz="1200" dirty="0" err="1"/>
              <a:t>Id,IsDeleted,CreatedData</a:t>
            </a:r>
            <a:r>
              <a:rPr lang="en-US" sz="1200" dirty="0"/>
              <a:t> FROM Customers </a:t>
            </a:r>
          </a:p>
          <a:p>
            <a:pPr indent="-600091"/>
            <a:r>
              <a:rPr lang="en-US" sz="1200" dirty="0"/>
              <a:t>WHERE </a:t>
            </a:r>
            <a:r>
              <a:rPr lang="en-US" sz="1200" dirty="0" err="1"/>
              <a:t>CreatedDate</a:t>
            </a:r>
            <a:r>
              <a:rPr lang="en-US" sz="1200" dirty="0"/>
              <a:t> &gt;= </a:t>
            </a:r>
            <a:r>
              <a:rPr lang="fi-FI" sz="1200" dirty="0">
                <a:solidFill>
                  <a:srgbClr val="C00000"/>
                </a:solidFill>
              </a:rPr>
              <a:t>@{formatDateTime(pipeline().parameters.windowStartTime, 'yyyy/MM/dd’) </a:t>
            </a:r>
          </a:p>
          <a:p>
            <a:pPr indent="-600091"/>
            <a:r>
              <a:rPr lang="en-US" sz="1200" dirty="0"/>
              <a:t>AND </a:t>
            </a:r>
            <a:r>
              <a:rPr lang="en-US" sz="1200" dirty="0" err="1"/>
              <a:t>CreatedDate</a:t>
            </a:r>
            <a:r>
              <a:rPr lang="en-US" sz="1200" dirty="0"/>
              <a:t> &lt; </a:t>
            </a:r>
            <a:r>
              <a:rPr lang="fi-FI" sz="1200" dirty="0">
                <a:solidFill>
                  <a:srgbClr val="C00000"/>
                </a:solidFill>
              </a:rPr>
              <a:t>@{formatDateTime(pipeline().parameters.windowEndTime, 'yyyy/MM/dd’) 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78964"/>
      </p:ext>
    </p:extLst>
  </p:cSld>
  <p:clrMapOvr>
    <a:masterClrMapping/>
  </p:clrMapOvr>
  <p:transition spd="med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A0392-90B2-43B0-9421-F28609BA8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171" y="2838068"/>
            <a:ext cx="5094515" cy="1181862"/>
          </a:xfrm>
        </p:spPr>
        <p:txBody>
          <a:bodyPr/>
          <a:lstStyle/>
          <a:p>
            <a:r>
              <a:rPr lang="en-US" sz="3600" dirty="0"/>
              <a:t>Demo:</a:t>
            </a:r>
            <a:br>
              <a:rPr lang="en-US" sz="3600" dirty="0"/>
            </a:br>
            <a:r>
              <a:rPr lang="en-US" sz="3600" dirty="0"/>
              <a:t>Incremental inges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85DD90-381C-427D-A9D8-F9A10AD82F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258360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057" y="232718"/>
            <a:ext cx="5306612" cy="899665"/>
          </a:xfrm>
        </p:spPr>
        <p:txBody>
          <a:bodyPr>
            <a:noAutofit/>
          </a:bodyPr>
          <a:lstStyle/>
          <a:p>
            <a:pPr algn="ctr" defTabSz="913918"/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Visual Drag-n-Drop Authoring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A8BA597-7C73-4634-86AE-D672084ABCBA}"/>
              </a:ext>
            </a:extLst>
          </p:cNvPr>
          <p:cNvSpPr txBox="1">
            <a:spLocks/>
          </p:cNvSpPr>
          <p:nvPr/>
        </p:nvSpPr>
        <p:spPr>
          <a:xfrm>
            <a:off x="7120109" y="2405963"/>
            <a:ext cx="5306612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 fontScale="97500"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3918"/>
            <a:r>
              <a:rPr lang="en-US" sz="3900" b="1" dirty="0">
                <a:solidFill>
                  <a:srgbClr val="0078D7"/>
                </a:solidFill>
                <a:latin typeface="Segoe UI Light (Headings)"/>
              </a:rPr>
              <a:t>Visual Monitor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573967E-C4F0-482C-A89C-3DE0B6A7D5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61" b="4203"/>
          <a:stretch/>
        </p:blipFill>
        <p:spPr>
          <a:xfrm>
            <a:off x="164503" y="1604351"/>
            <a:ext cx="7107387" cy="35075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5EA863D-5568-4230-9532-39276E64251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54" b="4348"/>
          <a:stretch/>
        </p:blipFill>
        <p:spPr>
          <a:xfrm>
            <a:off x="4505346" y="3305628"/>
            <a:ext cx="7522151" cy="35075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33279627"/>
      </p:ext>
    </p:extLst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142787"/>
            <a:ext cx="11655840" cy="899665"/>
          </a:xfrm>
        </p:spPr>
        <p:txBody>
          <a:bodyPr>
            <a:normAutofit/>
          </a:bodyPr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Azure Monitoring / OMS integr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A79E97-B9FF-421E-81C8-0193DD7210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592" b="6848"/>
          <a:stretch/>
        </p:blipFill>
        <p:spPr>
          <a:xfrm>
            <a:off x="1485685" y="2325756"/>
            <a:ext cx="9220630" cy="41784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4E1419F-3994-4E1A-9EAB-A51E7E4E0183}"/>
              </a:ext>
            </a:extLst>
          </p:cNvPr>
          <p:cNvSpPr/>
          <p:nvPr/>
        </p:nvSpPr>
        <p:spPr>
          <a:xfrm>
            <a:off x="1485685" y="906187"/>
            <a:ext cx="7109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Aggregated Metr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Alerts and ac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/>
              <a:t>Diagnostic </a:t>
            </a:r>
            <a:r>
              <a:rPr lang="en-US" sz="2400" b="1" dirty="0"/>
              <a:t>logs</a:t>
            </a:r>
          </a:p>
        </p:txBody>
      </p:sp>
    </p:spTree>
    <p:extLst>
      <p:ext uri="{BB962C8B-B14F-4D97-AF65-F5344CB8AC3E}">
        <p14:creationId xmlns:p14="http://schemas.microsoft.com/office/powerpoint/2010/main" val="3761947802"/>
      </p:ext>
    </p:extLst>
  </p:cSld>
  <p:clrMapOvr>
    <a:masterClrMapping/>
  </p:clrMapOvr>
  <p:transition spd="med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>
            <a:extLst>
              <a:ext uri="{FF2B5EF4-FFF2-40B4-BE49-F238E27FC236}">
                <a16:creationId xmlns:a16="http://schemas.microsoft.com/office/drawing/2014/main" id="{84835B3A-DD8E-43CC-93E1-30DC89865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913918"/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Data Ingestion using ADF</a:t>
            </a:r>
          </a:p>
        </p:txBody>
      </p:sp>
      <p:pic>
        <p:nvPicPr>
          <p:cNvPr id="7" name="Picture 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17299403-CF40-483C-9419-28867C7EAC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841" y="3587503"/>
            <a:ext cx="9608144" cy="225190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3C76A3A-F29C-4A63-84AF-8A67FE470241}"/>
              </a:ext>
            </a:extLst>
          </p:cNvPr>
          <p:cNvSpPr/>
          <p:nvPr/>
        </p:nvSpPr>
        <p:spPr>
          <a:xfrm>
            <a:off x="1142841" y="1315090"/>
            <a:ext cx="776262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Fully managed PaaS service with monitoring &amp; mgm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Rich out-of-the-box connectivity for hybrid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Scalable and sec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Operationalized for historical and incremental loa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Chaining with rest of analytics workflow</a:t>
            </a:r>
          </a:p>
        </p:txBody>
      </p:sp>
    </p:spTree>
    <p:extLst>
      <p:ext uri="{BB962C8B-B14F-4D97-AF65-F5344CB8AC3E}">
        <p14:creationId xmlns:p14="http://schemas.microsoft.com/office/powerpoint/2010/main" val="2095270077"/>
      </p:ext>
    </p:extLst>
  </p:cSld>
  <p:clrMapOvr>
    <a:masterClrMapping/>
  </p:clrMapOvr>
  <p:transition spd="med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screenshot&#10;&#10;Description generated with very high confidence">
            <a:extLst>
              <a:ext uri="{FF2B5EF4-FFF2-40B4-BE49-F238E27FC236}">
                <a16:creationId xmlns:a16="http://schemas.microsoft.com/office/drawing/2014/main" id="{59C52407-C5EC-42E0-9581-FC8CCF8BC1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871" t="1" r="13712" b="86757"/>
          <a:stretch/>
        </p:blipFill>
        <p:spPr>
          <a:xfrm>
            <a:off x="1" y="487"/>
            <a:ext cx="12549947" cy="686537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CC51A34-56B7-4C98-B6E0-BA35E17CDDE5}"/>
              </a:ext>
            </a:extLst>
          </p:cNvPr>
          <p:cNvCxnSpPr>
            <a:cxnSpLocks/>
          </p:cNvCxnSpPr>
          <p:nvPr/>
        </p:nvCxnSpPr>
        <p:spPr>
          <a:xfrm>
            <a:off x="5826762" y="4848339"/>
            <a:ext cx="896425" cy="0"/>
          </a:xfrm>
          <a:prstGeom prst="line">
            <a:avLst/>
          </a:prstGeom>
          <a:ln w="28575">
            <a:solidFill>
              <a:srgbClr val="FF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235632FD-723D-4B36-B5A6-F82AC7701F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861"/>
            <a:ext cx="12549947" cy="7707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989469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89" y="175258"/>
            <a:ext cx="11023275" cy="643969"/>
          </a:xfrm>
        </p:spPr>
        <p:txBody>
          <a:bodyPr>
            <a:noAutofit/>
          </a:bodyPr>
          <a:lstStyle/>
          <a:p>
            <a:r>
              <a:rPr lang="en-US" sz="3920" b="1" spc="0" dirty="0">
                <a:solidFill>
                  <a:srgbClr val="0086AC"/>
                </a:solidFill>
                <a:latin typeface="Segoe UI Light (Headings)"/>
                <a:cs typeface="Segoe UI Semilight" panose="020B0402040204020203" pitchFamily="34" charset="0"/>
              </a:rPr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3120854"/>
          </a:xfrm>
        </p:spPr>
        <p:txBody>
          <a:bodyPr/>
          <a:lstStyle/>
          <a:p>
            <a:r>
              <a:rPr lang="en-US" sz="3600" dirty="0"/>
              <a:t>MDW scenarios</a:t>
            </a:r>
          </a:p>
          <a:p>
            <a:r>
              <a:rPr lang="en-US" sz="3600" dirty="0"/>
              <a:t>ADF overview</a:t>
            </a:r>
          </a:p>
          <a:p>
            <a:r>
              <a:rPr lang="en-US" sz="3600" dirty="0"/>
              <a:t>Loading data using ADF</a:t>
            </a:r>
          </a:p>
          <a:p>
            <a:r>
              <a:rPr lang="en-US" sz="3600" dirty="0"/>
              <a:t>Demo</a:t>
            </a:r>
            <a:endParaRPr lang="en-US" sz="2424" dirty="0"/>
          </a:p>
          <a:p>
            <a:r>
              <a:rPr lang="en-US" sz="3600" dirty="0"/>
              <a:t>Q&amp;A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656396372"/>
      </p:ext>
    </p:extLst>
  </p:cSld>
  <p:clrMapOvr>
    <a:masterClrMapping/>
  </p:clrMapOvr>
  <p:transition spd="med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9303" y="2084378"/>
            <a:ext cx="5724454" cy="1792836"/>
          </a:xfrm>
        </p:spPr>
        <p:txBody>
          <a:bodyPr/>
          <a:lstStyle/>
          <a:p>
            <a:r>
              <a:rPr lang="en-US" dirty="0"/>
              <a:t>Q&amp;A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249117"/>
      </p:ext>
    </p:extLst>
  </p:cSld>
  <p:clrMapOvr>
    <a:masterClrMapping/>
  </p:clrMapOvr>
  <p:transition spd="slow">
    <p:push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490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5594" y="5779071"/>
            <a:ext cx="11180492" cy="888992"/>
          </a:xfrm>
          <a:prstGeom prst="leftRightArrow">
            <a:avLst/>
          </a:prstGeom>
          <a:solidFill>
            <a:srgbClr val="0078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93">
              <a:defRPr/>
            </a:pPr>
            <a:endParaRPr lang="en-US" sz="1764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1820167" y="5910079"/>
            <a:ext cx="8790108" cy="502242"/>
          </a:xfrm>
          <a:prstGeom prst="rect">
            <a:avLst/>
          </a:prstGeom>
          <a:noFill/>
        </p:spPr>
        <p:txBody>
          <a:bodyPr wrap="square" lIns="274210" tIns="182806" rIns="182806" rtlCol="0">
            <a:spAutoFit/>
          </a:bodyPr>
          <a:lstStyle/>
          <a:p>
            <a:pPr defTabSz="914093">
              <a:defRPr/>
            </a:pPr>
            <a:r>
              <a:rPr lang="en-US" sz="1764" b="1" dirty="0">
                <a:solidFill>
                  <a:schemeClr val="bg1"/>
                </a:solidFill>
                <a:latin typeface="Segoe UI"/>
              </a:rPr>
              <a:t>Azure Data Factory orchestrates and operationalizes data pipeline workflow</a:t>
            </a:r>
          </a:p>
        </p:txBody>
      </p:sp>
      <p:sp>
        <p:nvSpPr>
          <p:cNvPr id="159" name="Title 1">
            <a:extLst>
              <a:ext uri="{FF2B5EF4-FFF2-40B4-BE49-F238E27FC236}">
                <a16:creationId xmlns:a16="http://schemas.microsoft.com/office/drawing/2014/main" id="{2D38ADE1-09D7-46ED-B830-3122B0EDF1CA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39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3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Modern DW for BI</a:t>
            </a:r>
          </a:p>
        </p:txBody>
      </p:sp>
      <p:sp>
        <p:nvSpPr>
          <p:cNvPr id="155" name="Right Bracket 154">
            <a:extLst>
              <a:ext uri="{FF2B5EF4-FFF2-40B4-BE49-F238E27FC236}">
                <a16:creationId xmlns:a16="http://schemas.microsoft.com/office/drawing/2014/main" id="{95F3FD24-C680-420A-A9F6-7D50A86978C7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82365424-865D-457D-9BBF-DD5CC4A6F528}"/>
              </a:ext>
            </a:extLst>
          </p:cNvPr>
          <p:cNvSpPr txBox="1"/>
          <p:nvPr/>
        </p:nvSpPr>
        <p:spPr>
          <a:xfrm>
            <a:off x="290776" y="511826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4F338A48-243F-463B-931C-CF225EE50FDF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15B46A04-3621-4310-B0E1-0D52B0713858}"/>
              </a:ext>
            </a:extLst>
          </p:cNvPr>
          <p:cNvCxnSpPr>
            <a:cxnSpLocks/>
          </p:cNvCxnSpPr>
          <p:nvPr/>
        </p:nvCxnSpPr>
        <p:spPr>
          <a:xfrm>
            <a:off x="5529431" y="2815789"/>
            <a:ext cx="1237066" cy="9756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6847B7D1-2BA7-41ED-9F83-F48A45D15BA7}"/>
              </a:ext>
            </a:extLst>
          </p:cNvPr>
          <p:cNvCxnSpPr>
            <a:cxnSpLocks/>
          </p:cNvCxnSpPr>
          <p:nvPr/>
        </p:nvCxnSpPr>
        <p:spPr>
          <a:xfrm>
            <a:off x="9923284" y="4914098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91785FF7-4C9D-4F76-BA08-59E5249D4295}"/>
              </a:ext>
            </a:extLst>
          </p:cNvPr>
          <p:cNvSpPr/>
          <p:nvPr/>
        </p:nvSpPr>
        <p:spPr>
          <a:xfrm>
            <a:off x="4606914" y="3117106"/>
            <a:ext cx="1096619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torag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06D57630-0B04-4ADA-909E-78036BF6193E}"/>
              </a:ext>
            </a:extLst>
          </p:cNvPr>
          <p:cNvSpPr/>
          <p:nvPr/>
        </p:nvSpPr>
        <p:spPr>
          <a:xfrm>
            <a:off x="4592872" y="4833081"/>
            <a:ext cx="73318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olybase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E2F53166-5CE6-49E9-9730-A4DE18B6D47F}"/>
              </a:ext>
            </a:extLst>
          </p:cNvPr>
          <p:cNvSpPr/>
          <p:nvPr/>
        </p:nvSpPr>
        <p:spPr>
          <a:xfrm>
            <a:off x="8424579" y="5240013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QL Data Warehouse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38C76963-2A0A-45D0-8A4F-B79F1A37CBF7}"/>
              </a:ext>
            </a:extLst>
          </p:cNvPr>
          <p:cNvSpPr/>
          <p:nvPr/>
        </p:nvSpPr>
        <p:spPr>
          <a:xfrm>
            <a:off x="2672827" y="311710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AF3B98BB-4BAA-4E3D-9796-D3361C8CE332}"/>
              </a:ext>
            </a:extLst>
          </p:cNvPr>
          <p:cNvSpPr/>
          <p:nvPr/>
        </p:nvSpPr>
        <p:spPr>
          <a:xfrm>
            <a:off x="2672827" y="5057423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cxnSp>
        <p:nvCxnSpPr>
          <p:cNvPr id="185" name="Connector: Elbow 184">
            <a:extLst>
              <a:ext uri="{FF2B5EF4-FFF2-40B4-BE49-F238E27FC236}">
                <a16:creationId xmlns:a16="http://schemas.microsoft.com/office/drawing/2014/main" id="{98AC8C0D-DC4E-418F-9835-4D75115E487A}"/>
              </a:ext>
            </a:extLst>
          </p:cNvPr>
          <p:cNvCxnSpPr>
            <a:cxnSpLocks/>
            <a:endCxn id="256" idx="0"/>
          </p:cNvCxnSpPr>
          <p:nvPr/>
        </p:nvCxnSpPr>
        <p:spPr>
          <a:xfrm>
            <a:off x="7634177" y="2849402"/>
            <a:ext cx="3634614" cy="1043940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A88C94D-ABDC-4822-9D1A-75F59D8B6C01}"/>
              </a:ext>
            </a:extLst>
          </p:cNvPr>
          <p:cNvSpPr/>
          <p:nvPr/>
        </p:nvSpPr>
        <p:spPr>
          <a:xfrm>
            <a:off x="6502777" y="3117106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0C4A4B8B-24E1-4722-86F0-491FE9D03192}"/>
              </a:ext>
            </a:extLst>
          </p:cNvPr>
          <p:cNvGrpSpPr/>
          <p:nvPr/>
        </p:nvGrpSpPr>
        <p:grpSpPr>
          <a:xfrm>
            <a:off x="553831" y="4618795"/>
            <a:ext cx="1064771" cy="406286"/>
            <a:chOff x="579957" y="1614888"/>
            <a:chExt cx="1064771" cy="406286"/>
          </a:xfrm>
        </p:grpSpPr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D3B1975D-4D05-4582-A9F5-50EAB55A42F0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194" name="Group 193">
                <a:extLst>
                  <a:ext uri="{FF2B5EF4-FFF2-40B4-BE49-F238E27FC236}">
                    <a16:creationId xmlns:a16="http://schemas.microsoft.com/office/drawing/2014/main" id="{F7663B88-AFEA-4DEB-B65E-2C46C4C8F208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1AE0228F-EFBB-4164-AA70-CD0CEDBDEF01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F5208A2F-DA17-4BFA-9748-8E1D47F85C08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98">
                  <a:extLst>
                    <a:ext uri="{FF2B5EF4-FFF2-40B4-BE49-F238E27FC236}">
                      <a16:creationId xmlns:a16="http://schemas.microsoft.com/office/drawing/2014/main" id="{9AFA6CF7-665C-41BA-83E0-76748D4CA7A5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BD6E494A-F711-4376-B43A-385746CB906A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BF58D211-B331-456E-B2B3-68B93271F0DD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  <p:cxnSp>
            <p:nvCxnSpPr>
              <p:cNvPr id="196" name="Straight Connector 195">
                <a:extLst>
                  <a:ext uri="{FF2B5EF4-FFF2-40B4-BE49-F238E27FC236}">
                    <a16:creationId xmlns:a16="http://schemas.microsoft.com/office/drawing/2014/main" id="{C15CF9C2-DC6E-478B-AC1F-B273292C322F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</p:grpSp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4CC16D52-C5B7-4264-BFE1-2F2C545798B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190" name="Freeform 106">
                <a:extLst>
                  <a:ext uri="{FF2B5EF4-FFF2-40B4-BE49-F238E27FC236}">
                    <a16:creationId xmlns:a16="http://schemas.microsoft.com/office/drawing/2014/main" id="{2AE81E74-B11E-4CA4-A6F3-3B908609E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852978AC-5339-4296-8EE2-3AA9C4D2EB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1B9DF657-6398-4E06-BBB3-D7AC39590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D123D044-536D-4A29-A34E-6DDDDDC560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BA85707F-839A-424A-B2A0-D1E98FBDC69A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202" name="Group 4">
              <a:extLst>
                <a:ext uri="{FF2B5EF4-FFF2-40B4-BE49-F238E27FC236}">
                  <a16:creationId xmlns:a16="http://schemas.microsoft.com/office/drawing/2014/main" id="{A180F936-1DCF-4DBC-95C5-36179228A57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214" name="Freeform 5">
                <a:extLst>
                  <a:ext uri="{FF2B5EF4-FFF2-40B4-BE49-F238E27FC236}">
                    <a16:creationId xmlns:a16="http://schemas.microsoft.com/office/drawing/2014/main" id="{9D582CFB-74A3-4DED-ADE3-47E392C0D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15" name="Freeform 6">
                <a:extLst>
                  <a:ext uri="{FF2B5EF4-FFF2-40B4-BE49-F238E27FC236}">
                    <a16:creationId xmlns:a16="http://schemas.microsoft.com/office/drawing/2014/main" id="{C08DE5EA-D647-4173-97F6-B69160EDC7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16" name="Freeform 7">
                <a:extLst>
                  <a:ext uri="{FF2B5EF4-FFF2-40B4-BE49-F238E27FC236}">
                    <a16:creationId xmlns:a16="http://schemas.microsoft.com/office/drawing/2014/main" id="{5F4ABE3C-0A13-4A26-8BF3-E8E44E5EC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03D9BD7B-E9BB-43FE-9446-BC231A2CD89A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207" name="Group 206">
                <a:extLst>
                  <a:ext uri="{FF2B5EF4-FFF2-40B4-BE49-F238E27FC236}">
                    <a16:creationId xmlns:a16="http://schemas.microsoft.com/office/drawing/2014/main" id="{9AC42740-5F08-4653-9338-1EA9E5E64ABD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212" name="Snip Single Corner Rectangle 26">
                  <a:extLst>
                    <a:ext uri="{FF2B5EF4-FFF2-40B4-BE49-F238E27FC236}">
                      <a16:creationId xmlns:a16="http://schemas.microsoft.com/office/drawing/2014/main" id="{D81CE06F-5C18-480A-91C6-BCFB954F2226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3" name="Triangle 27">
                  <a:extLst>
                    <a:ext uri="{FF2B5EF4-FFF2-40B4-BE49-F238E27FC236}">
                      <a16:creationId xmlns:a16="http://schemas.microsoft.com/office/drawing/2014/main" id="{AF1A1921-DF5A-4C0F-ABA9-1B1A6C336659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E6817B1A-0E65-4BDA-AD96-C7B1510BC6AE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>
                <a:extLst>
                  <a:ext uri="{FF2B5EF4-FFF2-40B4-BE49-F238E27FC236}">
                    <a16:creationId xmlns:a16="http://schemas.microsoft.com/office/drawing/2014/main" id="{35C9C49A-7AF7-416E-85C1-7CBF80EA475D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DDAEF2F5-4938-4DAA-99FC-92E2FCC9B4F7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AEA2B76E-2C65-4D73-B1A0-12F6BEFA8F4E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08356157-CBED-409B-A8D1-82D785DED3F9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F51EC649-710F-49C7-89D4-41C05E1471BA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6" name="Isosceles Triangle 205">
                <a:extLst>
                  <a:ext uri="{FF2B5EF4-FFF2-40B4-BE49-F238E27FC236}">
                    <a16:creationId xmlns:a16="http://schemas.microsoft.com/office/drawing/2014/main" id="{B6C9DB49-2305-4BDB-B50C-583D0CD563E1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ACFD76B3-52C3-4957-8C9A-9BEAD33F2D21}"/>
              </a:ext>
            </a:extLst>
          </p:cNvPr>
          <p:cNvGrpSpPr/>
          <p:nvPr/>
        </p:nvGrpSpPr>
        <p:grpSpPr>
          <a:xfrm>
            <a:off x="4878110" y="2580933"/>
            <a:ext cx="554226" cy="494220"/>
            <a:chOff x="2488012" y="1320237"/>
            <a:chExt cx="4696415" cy="4187934"/>
          </a:xfrm>
        </p:grpSpPr>
        <p:sp>
          <p:nvSpPr>
            <p:cNvPr id="218" name="Hexagon 217">
              <a:extLst>
                <a:ext uri="{FF2B5EF4-FFF2-40B4-BE49-F238E27FC236}">
                  <a16:creationId xmlns:a16="http://schemas.microsoft.com/office/drawing/2014/main" id="{2A91B5B0-D88F-45CF-AE59-737DBF1B2680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Snip Single Corner Rectangle 26">
              <a:extLst>
                <a:ext uri="{FF2B5EF4-FFF2-40B4-BE49-F238E27FC236}">
                  <a16:creationId xmlns:a16="http://schemas.microsoft.com/office/drawing/2014/main" id="{1F4D6FFD-7F2E-49D4-AEDE-48C2882BA2F5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6BF05F4B-9F37-4930-A1BB-00AFDB4176D4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2CB26C17-7F70-4A2E-A066-67C17C8DB648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1189FCDD-E8DF-40ED-B5AB-3D6BE95F1FF6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0144BAA4-01C9-46CC-A1FE-41F39834867B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9EEABC8C-9F5F-4921-B8D0-0D1AF521D512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21" name="Right Triangle 220">
              <a:extLst>
                <a:ext uri="{FF2B5EF4-FFF2-40B4-BE49-F238E27FC236}">
                  <a16:creationId xmlns:a16="http://schemas.microsoft.com/office/drawing/2014/main" id="{0E7E8C24-3299-4341-969B-653A0D97635A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379BCE43-AECC-4A67-8CCD-78DA8DD5B336}"/>
              </a:ext>
            </a:extLst>
          </p:cNvPr>
          <p:cNvGrpSpPr/>
          <p:nvPr/>
        </p:nvGrpSpPr>
        <p:grpSpPr>
          <a:xfrm>
            <a:off x="9081256" y="4439748"/>
            <a:ext cx="732312" cy="719160"/>
            <a:chOff x="2549926" y="1227604"/>
            <a:chExt cx="5177116" cy="5084148"/>
          </a:xfrm>
        </p:grpSpPr>
        <p:sp>
          <p:nvSpPr>
            <p:cNvPr id="227" name="Freeform: Shape 821">
              <a:extLst>
                <a:ext uri="{FF2B5EF4-FFF2-40B4-BE49-F238E27FC236}">
                  <a16:creationId xmlns:a16="http://schemas.microsoft.com/office/drawing/2014/main" id="{644ADA88-6537-4CC5-92A0-2C0B29722B29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id="{836437FE-98E1-44E0-8F10-32F4E8E76744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77FE236E-00BA-475C-925A-6F209F976764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F94631E6-296F-416E-9BB6-209EEE29A9A7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0D82F08C-0183-45AE-91EF-A0A05D07C50F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3C328A51-1C3A-40C5-B74E-FF71A43AEC48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01FEAE0E-8FD7-45C5-92CA-5F089DE50647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Cylinder 828">
              <a:extLst>
                <a:ext uri="{FF2B5EF4-FFF2-40B4-BE49-F238E27FC236}">
                  <a16:creationId xmlns:a16="http://schemas.microsoft.com/office/drawing/2014/main" id="{3FC58174-45E2-44AD-A09E-0718C25DDF96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2C711776-E149-4F75-AFD3-59EB67F65E1E}"/>
              </a:ext>
            </a:extLst>
          </p:cNvPr>
          <p:cNvGrpSpPr/>
          <p:nvPr/>
        </p:nvGrpSpPr>
        <p:grpSpPr>
          <a:xfrm>
            <a:off x="2953700" y="2587700"/>
            <a:ext cx="485337" cy="487453"/>
            <a:chOff x="5279190" y="5401430"/>
            <a:chExt cx="1101836" cy="1106637"/>
          </a:xfrm>
        </p:grpSpPr>
        <p:sp>
          <p:nvSpPr>
            <p:cNvPr id="236" name="Freeform: Shape 815">
              <a:extLst>
                <a:ext uri="{FF2B5EF4-FFF2-40B4-BE49-F238E27FC236}">
                  <a16:creationId xmlns:a16="http://schemas.microsoft.com/office/drawing/2014/main" id="{2B8465E2-9D20-4AB2-A850-C964298268B2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7" name="Freeform: Shape 816">
              <a:extLst>
                <a:ext uri="{FF2B5EF4-FFF2-40B4-BE49-F238E27FC236}">
                  <a16:creationId xmlns:a16="http://schemas.microsoft.com/office/drawing/2014/main" id="{7DF0C52A-D030-4F44-8E2E-E013E51103A0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8" name="Freeform: Shape 817">
              <a:extLst>
                <a:ext uri="{FF2B5EF4-FFF2-40B4-BE49-F238E27FC236}">
                  <a16:creationId xmlns:a16="http://schemas.microsoft.com/office/drawing/2014/main" id="{EB43C86E-F81C-4379-91E7-4B081F3B8C08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9" name="Freeform: Shape 818">
              <a:extLst>
                <a:ext uri="{FF2B5EF4-FFF2-40B4-BE49-F238E27FC236}">
                  <a16:creationId xmlns:a16="http://schemas.microsoft.com/office/drawing/2014/main" id="{02A02B4F-40AC-420C-998D-28F31DE902FD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240" name="Freeform: Shape 819">
              <a:extLst>
                <a:ext uri="{FF2B5EF4-FFF2-40B4-BE49-F238E27FC236}">
                  <a16:creationId xmlns:a16="http://schemas.microsoft.com/office/drawing/2014/main" id="{250DDAA1-06F9-470C-B041-1F4DD77E409E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241" name="Connector: Elbow 240">
            <a:extLst>
              <a:ext uri="{FF2B5EF4-FFF2-40B4-BE49-F238E27FC236}">
                <a16:creationId xmlns:a16="http://schemas.microsoft.com/office/drawing/2014/main" id="{DE4C24EB-DCCD-46F8-8A4C-B194A923741D}"/>
              </a:ext>
            </a:extLst>
          </p:cNvPr>
          <p:cNvCxnSpPr>
            <a:cxnSpLocks/>
            <a:stCxn id="170" idx="2"/>
          </p:cNvCxnSpPr>
          <p:nvPr/>
        </p:nvCxnSpPr>
        <p:spPr>
          <a:xfrm rot="16200000" flipH="1">
            <a:off x="6337491" y="2188755"/>
            <a:ext cx="1291263" cy="3655796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AA7B7D6F-3B7E-46B1-9686-48E2509D6352}"/>
              </a:ext>
            </a:extLst>
          </p:cNvPr>
          <p:cNvCxnSpPr>
            <a:cxnSpLocks/>
          </p:cNvCxnSpPr>
          <p:nvPr/>
        </p:nvCxnSpPr>
        <p:spPr>
          <a:xfrm>
            <a:off x="3572438" y="483662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Arrow Connector 242">
            <a:extLst>
              <a:ext uri="{FF2B5EF4-FFF2-40B4-BE49-F238E27FC236}">
                <a16:creationId xmlns:a16="http://schemas.microsoft.com/office/drawing/2014/main" id="{303E9029-72B0-4A9D-8810-3A09B49E9137}"/>
              </a:ext>
            </a:extLst>
          </p:cNvPr>
          <p:cNvCxnSpPr>
            <a:cxnSpLocks/>
          </p:cNvCxnSpPr>
          <p:nvPr/>
        </p:nvCxnSpPr>
        <p:spPr>
          <a:xfrm>
            <a:off x="3572437" y="2828043"/>
            <a:ext cx="118782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Arrow Connector 243">
            <a:extLst>
              <a:ext uri="{FF2B5EF4-FFF2-40B4-BE49-F238E27FC236}">
                <a16:creationId xmlns:a16="http://schemas.microsoft.com/office/drawing/2014/main" id="{0831E5F1-BF93-47A7-9FCA-355022A895B3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Arrow Connector 244">
            <a:extLst>
              <a:ext uri="{FF2B5EF4-FFF2-40B4-BE49-F238E27FC236}">
                <a16:creationId xmlns:a16="http://schemas.microsoft.com/office/drawing/2014/main" id="{273F52C6-F86E-4C99-9D4C-14FC4C486DF3}"/>
              </a:ext>
            </a:extLst>
          </p:cNvPr>
          <p:cNvCxnSpPr>
            <a:cxnSpLocks/>
          </p:cNvCxnSpPr>
          <p:nvPr/>
        </p:nvCxnSpPr>
        <p:spPr>
          <a:xfrm>
            <a:off x="2316994" y="4834959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ABCBAFDB-E5BE-4925-ADA1-D02421E4D6AE}"/>
              </a:ext>
            </a:extLst>
          </p:cNvPr>
          <p:cNvGrpSpPr/>
          <p:nvPr/>
        </p:nvGrpSpPr>
        <p:grpSpPr>
          <a:xfrm>
            <a:off x="2953700" y="4519140"/>
            <a:ext cx="485337" cy="487453"/>
            <a:chOff x="5279190" y="5401430"/>
            <a:chExt cx="1101836" cy="1106637"/>
          </a:xfrm>
        </p:grpSpPr>
        <p:sp>
          <p:nvSpPr>
            <p:cNvPr id="247" name="Freeform: Shape 815">
              <a:extLst>
                <a:ext uri="{FF2B5EF4-FFF2-40B4-BE49-F238E27FC236}">
                  <a16:creationId xmlns:a16="http://schemas.microsoft.com/office/drawing/2014/main" id="{73BFD031-A6F6-4371-A934-5BC3EA323AAA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8" name="Freeform: Shape 816">
              <a:extLst>
                <a:ext uri="{FF2B5EF4-FFF2-40B4-BE49-F238E27FC236}">
                  <a16:creationId xmlns:a16="http://schemas.microsoft.com/office/drawing/2014/main" id="{5DB2FBED-40CA-4C29-88DF-9B607E3A8DD1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9" name="Freeform: Shape 817">
              <a:extLst>
                <a:ext uri="{FF2B5EF4-FFF2-40B4-BE49-F238E27FC236}">
                  <a16:creationId xmlns:a16="http://schemas.microsoft.com/office/drawing/2014/main" id="{F71923D8-DAE9-4303-9907-8749A9133330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0" name="Freeform: Shape 818">
              <a:extLst>
                <a:ext uri="{FF2B5EF4-FFF2-40B4-BE49-F238E27FC236}">
                  <a16:creationId xmlns:a16="http://schemas.microsoft.com/office/drawing/2014/main" id="{927E12B2-DAFA-4255-A3A5-576D29F99385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251" name="Freeform: Shape 819">
              <a:extLst>
                <a:ext uri="{FF2B5EF4-FFF2-40B4-BE49-F238E27FC236}">
                  <a16:creationId xmlns:a16="http://schemas.microsoft.com/office/drawing/2014/main" id="{9D192C22-CD62-4151-88A6-8BD5EA4CFF7C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52" name="Shape 101">
            <a:extLst>
              <a:ext uri="{FF2B5EF4-FFF2-40B4-BE49-F238E27FC236}">
                <a16:creationId xmlns:a16="http://schemas.microsoft.com/office/drawing/2014/main" id="{00969007-6EEB-41AD-B0B6-5182BABE8637}"/>
              </a:ext>
            </a:extLst>
          </p:cNvPr>
          <p:cNvSpPr txBox="1"/>
          <p:nvPr/>
        </p:nvSpPr>
        <p:spPr>
          <a:xfrm>
            <a:off x="10615278" y="4609681"/>
            <a:ext cx="1516015" cy="415458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Analytical dashboard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(PowerBI)</a:t>
            </a: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B4BD7B08-E7F5-4C64-B2ED-E8BBFE0E7771}"/>
              </a:ext>
            </a:extLst>
          </p:cNvPr>
          <p:cNvGrpSpPr/>
          <p:nvPr/>
        </p:nvGrpSpPr>
        <p:grpSpPr>
          <a:xfrm>
            <a:off x="10934103" y="3893342"/>
            <a:ext cx="669375" cy="526560"/>
            <a:chOff x="10725498" y="5087603"/>
            <a:chExt cx="498940" cy="424437"/>
          </a:xfrm>
        </p:grpSpPr>
        <p:sp>
          <p:nvSpPr>
            <p:cNvPr id="254" name="graph_2">
              <a:extLst>
                <a:ext uri="{FF2B5EF4-FFF2-40B4-BE49-F238E27FC236}">
                  <a16:creationId xmlns:a16="http://schemas.microsoft.com/office/drawing/2014/main" id="{84E0E811-BEC5-4CFC-902D-7932316618A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4A64007F-6686-4886-AB09-84F350169B3A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256" name="Rectangle 9">
                <a:extLst>
                  <a:ext uri="{FF2B5EF4-FFF2-40B4-BE49-F238E27FC236}">
                    <a16:creationId xmlns:a16="http://schemas.microsoft.com/office/drawing/2014/main" id="{F749FC14-2B94-489C-8AD9-3A859E9083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Line 10">
                <a:extLst>
                  <a:ext uri="{FF2B5EF4-FFF2-40B4-BE49-F238E27FC236}">
                    <a16:creationId xmlns:a16="http://schemas.microsoft.com/office/drawing/2014/main" id="{7F10F438-3750-4D7C-A15E-FA496FD6D2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Oval 11">
                <a:extLst>
                  <a:ext uri="{FF2B5EF4-FFF2-40B4-BE49-F238E27FC236}">
                    <a16:creationId xmlns:a16="http://schemas.microsoft.com/office/drawing/2014/main" id="{B035D68F-9F4C-4D79-89C0-1D530996B4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Oval 12">
                <a:extLst>
                  <a:ext uri="{FF2B5EF4-FFF2-40B4-BE49-F238E27FC236}">
                    <a16:creationId xmlns:a16="http://schemas.microsoft.com/office/drawing/2014/main" id="{39F0762C-2E98-4F4C-8DEC-7DE979521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Oval 13">
                <a:extLst>
                  <a:ext uri="{FF2B5EF4-FFF2-40B4-BE49-F238E27FC236}">
                    <a16:creationId xmlns:a16="http://schemas.microsoft.com/office/drawing/2014/main" id="{3BDEEDB8-9AE7-41A5-A7F4-F640D17F3C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71FC833C-9CE0-4003-B47E-0058F8949D01}"/>
              </a:ext>
            </a:extLst>
          </p:cNvPr>
          <p:cNvGrpSpPr/>
          <p:nvPr/>
        </p:nvGrpSpPr>
        <p:grpSpPr>
          <a:xfrm>
            <a:off x="6919439" y="2616558"/>
            <a:ext cx="595274" cy="485668"/>
            <a:chOff x="5818113" y="2550840"/>
            <a:chExt cx="529278" cy="431824"/>
          </a:xfrm>
        </p:grpSpPr>
        <p:sp>
          <p:nvSpPr>
            <p:cNvPr id="262" name="Diamond 261">
              <a:extLst>
                <a:ext uri="{FF2B5EF4-FFF2-40B4-BE49-F238E27FC236}">
                  <a16:creationId xmlns:a16="http://schemas.microsoft.com/office/drawing/2014/main" id="{332B31D9-F18D-415D-B91F-BD681AB9839D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58B88DB3-8EF6-4468-91ED-24663221ECB0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64" name="Rectangle 263">
            <a:extLst>
              <a:ext uri="{FF2B5EF4-FFF2-40B4-BE49-F238E27FC236}">
                <a16:creationId xmlns:a16="http://schemas.microsoft.com/office/drawing/2014/main" id="{05B94146-6E2B-498D-A97A-9A15C27088E8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5DB140A0-9E6A-442E-85A3-EAD45F17C91A}"/>
              </a:ext>
            </a:extLst>
          </p:cNvPr>
          <p:cNvSpPr/>
          <p:nvPr/>
        </p:nvSpPr>
        <p:spPr bwMode="auto">
          <a:xfrm>
            <a:off x="8616021" y="1749131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32329837-BBF4-4121-B786-D896A0A66A20}"/>
              </a:ext>
            </a:extLst>
          </p:cNvPr>
          <p:cNvSpPr/>
          <p:nvPr/>
        </p:nvSpPr>
        <p:spPr bwMode="auto">
          <a:xfrm>
            <a:off x="6608998" y="1749131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BA11A9EF-93FF-47D4-BB2D-C2F1C49050C4}"/>
              </a:ext>
            </a:extLst>
          </p:cNvPr>
          <p:cNvSpPr/>
          <p:nvPr/>
        </p:nvSpPr>
        <p:spPr bwMode="auto">
          <a:xfrm>
            <a:off x="4564817" y="1749131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A7F82475-21A5-470C-98C2-141C176396E3}"/>
              </a:ext>
            </a:extLst>
          </p:cNvPr>
          <p:cNvSpPr/>
          <p:nvPr/>
        </p:nvSpPr>
        <p:spPr bwMode="auto">
          <a:xfrm>
            <a:off x="2609300" y="1749131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269" name="Connector: Elbow 268">
            <a:extLst>
              <a:ext uri="{FF2B5EF4-FFF2-40B4-BE49-F238E27FC236}">
                <a16:creationId xmlns:a16="http://schemas.microsoft.com/office/drawing/2014/main" id="{FA5B3583-4869-485D-A81D-DBBB4A2AA081}"/>
              </a:ext>
            </a:extLst>
          </p:cNvPr>
          <p:cNvCxnSpPr>
            <a:cxnSpLocks/>
            <a:stCxn id="186" idx="2"/>
          </p:cNvCxnSpPr>
          <p:nvPr/>
        </p:nvCxnSpPr>
        <p:spPr>
          <a:xfrm rot="16200000" flipH="1">
            <a:off x="7519732" y="3229948"/>
            <a:ext cx="988632" cy="1593944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tangle 269">
            <a:extLst>
              <a:ext uri="{FF2B5EF4-FFF2-40B4-BE49-F238E27FC236}">
                <a16:creationId xmlns:a16="http://schemas.microsoft.com/office/drawing/2014/main" id="{BB50F891-5682-453C-9AB1-790914252364}"/>
              </a:ext>
            </a:extLst>
          </p:cNvPr>
          <p:cNvSpPr/>
          <p:nvPr/>
        </p:nvSpPr>
        <p:spPr bwMode="auto">
          <a:xfrm>
            <a:off x="10420291" y="1770094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pic>
        <p:nvPicPr>
          <p:cNvPr id="271" name="Picture 270">
            <a:extLst>
              <a:ext uri="{FF2B5EF4-FFF2-40B4-BE49-F238E27FC236}">
                <a16:creationId xmlns:a16="http://schemas.microsoft.com/office/drawing/2014/main" id="{6935DE22-29D1-410F-8A14-1920A525DC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177608" y="3511629"/>
            <a:ext cx="695422" cy="528711"/>
          </a:xfrm>
          <a:prstGeom prst="rect">
            <a:avLst/>
          </a:prstGeom>
        </p:spPr>
      </p:pic>
      <p:sp>
        <p:nvSpPr>
          <p:cNvPr id="272" name="Rectangle 271">
            <a:extLst>
              <a:ext uri="{FF2B5EF4-FFF2-40B4-BE49-F238E27FC236}">
                <a16:creationId xmlns:a16="http://schemas.microsoft.com/office/drawing/2014/main" id="{DE3AD066-FA0E-45A5-8D6C-0270D1F46D1B}"/>
              </a:ext>
            </a:extLst>
          </p:cNvPr>
          <p:cNvSpPr/>
          <p:nvPr/>
        </p:nvSpPr>
        <p:spPr>
          <a:xfrm>
            <a:off x="8459952" y="4069120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Analysis Services</a:t>
            </a:r>
          </a:p>
        </p:txBody>
      </p:sp>
      <p:pic>
        <p:nvPicPr>
          <p:cNvPr id="273" name="Picture 272">
            <a:extLst>
              <a:ext uri="{FF2B5EF4-FFF2-40B4-BE49-F238E27FC236}">
                <a16:creationId xmlns:a16="http://schemas.microsoft.com/office/drawing/2014/main" id="{F8D47981-55B9-428B-BECC-8B89E7893E4F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50000"/>
          </a:blip>
          <a:stretch>
            <a:fillRect/>
          </a:stretch>
        </p:blipFill>
        <p:spPr>
          <a:xfrm>
            <a:off x="291567" y="3130285"/>
            <a:ext cx="674300" cy="835851"/>
          </a:xfrm>
          <a:prstGeom prst="rect">
            <a:avLst/>
          </a:prstGeom>
        </p:spPr>
      </p:pic>
      <p:sp>
        <p:nvSpPr>
          <p:cNvPr id="274" name="TextBox 273">
            <a:extLst>
              <a:ext uri="{FF2B5EF4-FFF2-40B4-BE49-F238E27FC236}">
                <a16:creationId xmlns:a16="http://schemas.microsoft.com/office/drawing/2014/main" id="{B155FF6A-CE7F-4249-BED7-8E8718FA2790}"/>
              </a:ext>
            </a:extLst>
          </p:cNvPr>
          <p:cNvSpPr txBox="1"/>
          <p:nvPr/>
        </p:nvSpPr>
        <p:spPr>
          <a:xfrm>
            <a:off x="186918" y="402091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n Prem, Cloud 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 &amp; Data</a:t>
            </a:r>
          </a:p>
        </p:txBody>
      </p:sp>
      <p:sp>
        <p:nvSpPr>
          <p:cNvPr id="275" name="Freeform 5">
            <a:extLst>
              <a:ext uri="{FF2B5EF4-FFF2-40B4-BE49-F238E27FC236}">
                <a16:creationId xmlns:a16="http://schemas.microsoft.com/office/drawing/2014/main" id="{DC3BD6CD-E7C0-434E-8210-9AC897446196}"/>
              </a:ext>
            </a:extLst>
          </p:cNvPr>
          <p:cNvSpPr>
            <a:spLocks noChangeAspect="1"/>
          </p:cNvSpPr>
          <p:nvPr/>
        </p:nvSpPr>
        <p:spPr bwMode="black">
          <a:xfrm>
            <a:off x="1051049" y="3582349"/>
            <a:ext cx="600583" cy="330255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2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82D339C9-9CF3-4CA0-A6D1-9C78501AE14A}"/>
              </a:ext>
            </a:extLst>
          </p:cNvPr>
          <p:cNvCxnSpPr>
            <a:cxnSpLocks/>
          </p:cNvCxnSpPr>
          <p:nvPr/>
        </p:nvCxnSpPr>
        <p:spPr>
          <a:xfrm>
            <a:off x="9923284" y="4026920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161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5594" y="5779071"/>
            <a:ext cx="11180492" cy="888992"/>
          </a:xfrm>
          <a:prstGeom prst="leftRightArrow">
            <a:avLst/>
          </a:prstGeom>
          <a:solidFill>
            <a:srgbClr val="0078D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93">
              <a:defRPr/>
            </a:pPr>
            <a:endParaRPr lang="en-US" sz="1764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1820167" y="5910079"/>
            <a:ext cx="8790108" cy="502242"/>
          </a:xfrm>
          <a:prstGeom prst="rect">
            <a:avLst/>
          </a:prstGeom>
          <a:noFill/>
        </p:spPr>
        <p:txBody>
          <a:bodyPr wrap="square" lIns="274210" tIns="182806" rIns="182806" rtlCol="0">
            <a:spAutoFit/>
          </a:bodyPr>
          <a:lstStyle/>
          <a:p>
            <a:pPr defTabSz="914093">
              <a:defRPr/>
            </a:pPr>
            <a:r>
              <a:rPr lang="en-US" sz="1764" b="1" dirty="0">
                <a:solidFill>
                  <a:schemeClr val="bg1"/>
                </a:solidFill>
                <a:latin typeface="Segoe UI"/>
              </a:rPr>
              <a:t>Azure Data Factory orchestrates and operationalizes data pipeline workflow</a:t>
            </a:r>
          </a:p>
        </p:txBody>
      </p:sp>
      <p:sp>
        <p:nvSpPr>
          <p:cNvPr id="159" name="Title 1">
            <a:extLst>
              <a:ext uri="{FF2B5EF4-FFF2-40B4-BE49-F238E27FC236}">
                <a16:creationId xmlns:a16="http://schemas.microsoft.com/office/drawing/2014/main" id="{2D38ADE1-09D7-46ED-B830-3122B0EDF1CA}"/>
              </a:ext>
            </a:extLst>
          </p:cNvPr>
          <p:cNvSpPr txBox="1">
            <a:spLocks/>
          </p:cNvSpPr>
          <p:nvPr/>
        </p:nvSpPr>
        <p:spPr>
          <a:xfrm>
            <a:off x="196561" y="155051"/>
            <a:ext cx="10511370" cy="115064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39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3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Modern DW for SaaS Apps</a:t>
            </a:r>
          </a:p>
        </p:txBody>
      </p:sp>
      <p:sp>
        <p:nvSpPr>
          <p:cNvPr id="5" name="Right Bracket 4">
            <a:extLst>
              <a:ext uri="{FF2B5EF4-FFF2-40B4-BE49-F238E27FC236}">
                <a16:creationId xmlns:a16="http://schemas.microsoft.com/office/drawing/2014/main" id="{AAB7AB2E-9D5C-4788-B2F4-EE700A0388EF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791EFB-96A9-4E66-ACEC-C194A559409A}"/>
              </a:ext>
            </a:extLst>
          </p:cNvPr>
          <p:cNvSpPr txBox="1"/>
          <p:nvPr/>
        </p:nvSpPr>
        <p:spPr>
          <a:xfrm>
            <a:off x="311881" y="5085539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49F09-C938-4C36-91F1-0E86A9B3417A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24C9B85-10B5-4EAF-8EAB-5F4CEB20D66E}"/>
              </a:ext>
            </a:extLst>
          </p:cNvPr>
          <p:cNvCxnSpPr>
            <a:cxnSpLocks/>
          </p:cNvCxnSpPr>
          <p:nvPr/>
        </p:nvCxnSpPr>
        <p:spPr>
          <a:xfrm flipV="1">
            <a:off x="4969710" y="2825544"/>
            <a:ext cx="1796787" cy="1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DB4AB5D-B77D-463B-8BE8-7367184C8FFC}"/>
              </a:ext>
            </a:extLst>
          </p:cNvPr>
          <p:cNvCxnSpPr>
            <a:cxnSpLocks/>
          </p:cNvCxnSpPr>
          <p:nvPr/>
        </p:nvCxnSpPr>
        <p:spPr>
          <a:xfrm>
            <a:off x="9922847" y="5387437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1DCE89DA-0FB9-4094-AC69-A37A7F5B3240}"/>
              </a:ext>
            </a:extLst>
          </p:cNvPr>
          <p:cNvSpPr/>
          <p:nvPr/>
        </p:nvSpPr>
        <p:spPr>
          <a:xfrm>
            <a:off x="4004484" y="3117106"/>
            <a:ext cx="1096619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tora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FE07D9-C13C-4DE2-8538-EF180B5821AF}"/>
              </a:ext>
            </a:extLst>
          </p:cNvPr>
          <p:cNvSpPr/>
          <p:nvPr/>
        </p:nvSpPr>
        <p:spPr>
          <a:xfrm>
            <a:off x="2672827" y="311710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4252A1-28FB-4074-B493-D608E904E0A0}"/>
              </a:ext>
            </a:extLst>
          </p:cNvPr>
          <p:cNvSpPr/>
          <p:nvPr/>
        </p:nvSpPr>
        <p:spPr>
          <a:xfrm>
            <a:off x="2667836" y="4965229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D9C763-FE96-4705-BBA1-754982D1464A}"/>
              </a:ext>
            </a:extLst>
          </p:cNvPr>
          <p:cNvSpPr/>
          <p:nvPr/>
        </p:nvSpPr>
        <p:spPr>
          <a:xfrm>
            <a:off x="6502777" y="2923465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ABF78C-A11E-4DD9-9A98-C1CD78CA4978}"/>
              </a:ext>
            </a:extLst>
          </p:cNvPr>
          <p:cNvGrpSpPr/>
          <p:nvPr/>
        </p:nvGrpSpPr>
        <p:grpSpPr>
          <a:xfrm>
            <a:off x="574936" y="4586070"/>
            <a:ext cx="1064771" cy="406286"/>
            <a:chOff x="579957" y="1614888"/>
            <a:chExt cx="1064771" cy="40628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14A75FA-EEAE-4FF6-9C7D-AB9303B3999F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40FCCE03-ABBA-40E0-A16C-7477921A64D7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9269CBA2-A58E-43AB-85D5-FB4106817065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35F2CEDB-321B-4F3D-BE39-3A5BF4EDF03B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942AC1CC-2E27-4FA8-8711-0DE23AEB4620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5279ADB5-CB8F-4BEE-BEC8-BC24BE048D7A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644D0E42-3542-444F-B3C3-3FA706B5E591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BD88F1A4-F10F-4E58-B794-A23CA0729A0E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3B1927C-72EE-4C31-92FE-C4AB7B9BB94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18" name="Freeform 106">
                <a:extLst>
                  <a:ext uri="{FF2B5EF4-FFF2-40B4-BE49-F238E27FC236}">
                    <a16:creationId xmlns:a16="http://schemas.microsoft.com/office/drawing/2014/main" id="{55D6D5DE-61D3-4102-8FD1-6750E45B4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670BAFFE-8F68-44DB-B3CC-2646CCB23B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BD445FC8-A5E9-444A-A18D-B23C1EE2D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74FFC060-796A-43DE-A859-427D3DBD9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A03717A-8594-4713-8DE5-8B6A85722A08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30" name="Group 4">
              <a:extLst>
                <a:ext uri="{FF2B5EF4-FFF2-40B4-BE49-F238E27FC236}">
                  <a16:creationId xmlns:a16="http://schemas.microsoft.com/office/drawing/2014/main" id="{9162E49A-1092-4577-99D2-5F5C04904C6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42" name="Freeform 5">
                <a:extLst>
                  <a:ext uri="{FF2B5EF4-FFF2-40B4-BE49-F238E27FC236}">
                    <a16:creationId xmlns:a16="http://schemas.microsoft.com/office/drawing/2014/main" id="{15EC4908-3D30-4842-99FD-48F7028C2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" name="Freeform 6">
                <a:extLst>
                  <a:ext uri="{FF2B5EF4-FFF2-40B4-BE49-F238E27FC236}">
                    <a16:creationId xmlns:a16="http://schemas.microsoft.com/office/drawing/2014/main" id="{D5217147-88CF-468A-A16B-FFADD5F80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EF129020-94C6-4A07-8E59-4E4FA5A45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8406CD5-5DF3-4C4B-911F-BFC9E65E890D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3C1873A-6823-4C9B-B05A-7960726710CE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40" name="Snip Single Corner Rectangle 26">
                  <a:extLst>
                    <a:ext uri="{FF2B5EF4-FFF2-40B4-BE49-F238E27FC236}">
                      <a16:creationId xmlns:a16="http://schemas.microsoft.com/office/drawing/2014/main" id="{1F4F5379-77C6-4660-B7BE-BCD042698837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1" name="Triangle 27">
                  <a:extLst>
                    <a:ext uri="{FF2B5EF4-FFF2-40B4-BE49-F238E27FC236}">
                      <a16:creationId xmlns:a16="http://schemas.microsoft.com/office/drawing/2014/main" id="{FF271D8E-12FF-4053-A869-A15F54A70B9D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A34AB135-F31D-44F4-84FE-4815FA8D4F0E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B95863E-6698-48D0-9B81-ED649AB79192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421CBBA-9E14-465B-A6F6-60F01EEAFC2D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F0808B3-4F31-47C5-9066-B399FEF042AA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1044339-D151-414A-B209-4CD37E763119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2737603C-EFE6-47A9-A50F-47FAABD7155D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Isosceles Triangle 33">
                <a:extLst>
                  <a:ext uri="{FF2B5EF4-FFF2-40B4-BE49-F238E27FC236}">
                    <a16:creationId xmlns:a16="http://schemas.microsoft.com/office/drawing/2014/main" id="{A6B6A7B8-0E11-4EDD-96A6-A4B54BD6EF20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52EE3C2-464C-4F61-977A-EC4E06D2032C}"/>
              </a:ext>
            </a:extLst>
          </p:cNvPr>
          <p:cNvGrpSpPr/>
          <p:nvPr/>
        </p:nvGrpSpPr>
        <p:grpSpPr>
          <a:xfrm>
            <a:off x="4275680" y="2580933"/>
            <a:ext cx="554226" cy="494220"/>
            <a:chOff x="2488012" y="1320237"/>
            <a:chExt cx="4696415" cy="4187934"/>
          </a:xfrm>
        </p:grpSpPr>
        <p:sp>
          <p:nvSpPr>
            <p:cNvPr id="46" name="Hexagon 45">
              <a:extLst>
                <a:ext uri="{FF2B5EF4-FFF2-40B4-BE49-F238E27FC236}">
                  <a16:creationId xmlns:a16="http://schemas.microsoft.com/office/drawing/2014/main" id="{3359A687-7A20-448C-824C-5F1637BF1340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Snip Single Corner Rectangle 26">
              <a:extLst>
                <a:ext uri="{FF2B5EF4-FFF2-40B4-BE49-F238E27FC236}">
                  <a16:creationId xmlns:a16="http://schemas.microsoft.com/office/drawing/2014/main" id="{71B0BDD6-18D2-47EF-947B-3E6BEF64B5F2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96A4236-44A0-4C1B-8760-BCC4060F9EE9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6C73A95-3C6E-4813-B92E-6565A9EC93C1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3AFF0096-56CB-4435-8D70-9E127882C8F9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43F8457-79ED-405E-BB02-1C2D578FF67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307F8690-458C-46F9-854F-6AEFA9AF47DC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9" name="Right Triangle 48">
              <a:extLst>
                <a:ext uri="{FF2B5EF4-FFF2-40B4-BE49-F238E27FC236}">
                  <a16:creationId xmlns:a16="http://schemas.microsoft.com/office/drawing/2014/main" id="{90EE31FE-558D-45A3-90F5-711F798B717E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10FCD9-CF09-409D-9494-7D6E20EBC8EE}"/>
              </a:ext>
            </a:extLst>
          </p:cNvPr>
          <p:cNvGrpSpPr/>
          <p:nvPr/>
        </p:nvGrpSpPr>
        <p:grpSpPr>
          <a:xfrm>
            <a:off x="2953700" y="2587700"/>
            <a:ext cx="485337" cy="487453"/>
            <a:chOff x="5279190" y="5401430"/>
            <a:chExt cx="1101836" cy="1106637"/>
          </a:xfrm>
        </p:grpSpPr>
        <p:sp>
          <p:nvSpPr>
            <p:cNvPr id="55" name="Freeform: Shape 815">
              <a:extLst>
                <a:ext uri="{FF2B5EF4-FFF2-40B4-BE49-F238E27FC236}">
                  <a16:creationId xmlns:a16="http://schemas.microsoft.com/office/drawing/2014/main" id="{5B022782-7D95-490E-A5B3-6DABAFA6AFBA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816">
              <a:extLst>
                <a:ext uri="{FF2B5EF4-FFF2-40B4-BE49-F238E27FC236}">
                  <a16:creationId xmlns:a16="http://schemas.microsoft.com/office/drawing/2014/main" id="{B6D0B159-8E79-4651-8354-04063FF1EF32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817">
              <a:extLst>
                <a:ext uri="{FF2B5EF4-FFF2-40B4-BE49-F238E27FC236}">
                  <a16:creationId xmlns:a16="http://schemas.microsoft.com/office/drawing/2014/main" id="{28B123D4-6392-455E-A473-74E033051344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818">
              <a:extLst>
                <a:ext uri="{FF2B5EF4-FFF2-40B4-BE49-F238E27FC236}">
                  <a16:creationId xmlns:a16="http://schemas.microsoft.com/office/drawing/2014/main" id="{2D004FE4-3242-4351-A813-18EEFC28BE30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59" name="Freeform: Shape 819">
              <a:extLst>
                <a:ext uri="{FF2B5EF4-FFF2-40B4-BE49-F238E27FC236}">
                  <a16:creationId xmlns:a16="http://schemas.microsoft.com/office/drawing/2014/main" id="{8A5067FE-D096-4DCC-A607-A78A28437174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89C201B-BDD0-47C1-A002-032C88B051C8}"/>
              </a:ext>
            </a:extLst>
          </p:cNvPr>
          <p:cNvCxnSpPr>
            <a:cxnSpLocks/>
            <a:stCxn id="10" idx="2"/>
          </p:cNvCxnSpPr>
          <p:nvPr/>
        </p:nvCxnSpPr>
        <p:spPr>
          <a:xfrm rot="16200000" flipH="1">
            <a:off x="6106814" y="1817002"/>
            <a:ext cx="1150186" cy="4258226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0953159-B614-4014-B2A8-F3BCF6E1604B}"/>
              </a:ext>
            </a:extLst>
          </p:cNvPr>
          <p:cNvCxnSpPr>
            <a:cxnSpLocks/>
          </p:cNvCxnSpPr>
          <p:nvPr/>
        </p:nvCxnSpPr>
        <p:spPr>
          <a:xfrm>
            <a:off x="3572438" y="471291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FFB9E69-706A-487E-8726-27C8E5CCB939}"/>
              </a:ext>
            </a:extLst>
          </p:cNvPr>
          <p:cNvCxnSpPr>
            <a:cxnSpLocks/>
          </p:cNvCxnSpPr>
          <p:nvPr/>
        </p:nvCxnSpPr>
        <p:spPr>
          <a:xfrm>
            <a:off x="3572437" y="2828043"/>
            <a:ext cx="559509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AC628E4C-A7AD-46A7-ADF3-DA9942BCCA03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664EEE28-2950-4FEC-B238-E9A347F8183C}"/>
              </a:ext>
            </a:extLst>
          </p:cNvPr>
          <p:cNvCxnSpPr>
            <a:cxnSpLocks/>
          </p:cNvCxnSpPr>
          <p:nvPr/>
        </p:nvCxnSpPr>
        <p:spPr>
          <a:xfrm>
            <a:off x="2316994" y="4635035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6E34673-8320-494E-9355-5D7373268EB5}"/>
              </a:ext>
            </a:extLst>
          </p:cNvPr>
          <p:cNvGrpSpPr/>
          <p:nvPr/>
        </p:nvGrpSpPr>
        <p:grpSpPr>
          <a:xfrm>
            <a:off x="2953700" y="4395430"/>
            <a:ext cx="485337" cy="487453"/>
            <a:chOff x="5279190" y="5401430"/>
            <a:chExt cx="1101836" cy="1106637"/>
          </a:xfrm>
        </p:grpSpPr>
        <p:sp>
          <p:nvSpPr>
            <p:cNvPr id="66" name="Freeform: Shape 815">
              <a:extLst>
                <a:ext uri="{FF2B5EF4-FFF2-40B4-BE49-F238E27FC236}">
                  <a16:creationId xmlns:a16="http://schemas.microsoft.com/office/drawing/2014/main" id="{9503E7E0-2F38-44AE-9453-3FADECE2DE14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7" name="Freeform: Shape 816">
              <a:extLst>
                <a:ext uri="{FF2B5EF4-FFF2-40B4-BE49-F238E27FC236}">
                  <a16:creationId xmlns:a16="http://schemas.microsoft.com/office/drawing/2014/main" id="{D42502AB-5592-412F-9692-BB6C583CC641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8" name="Freeform: Shape 817">
              <a:extLst>
                <a:ext uri="{FF2B5EF4-FFF2-40B4-BE49-F238E27FC236}">
                  <a16:creationId xmlns:a16="http://schemas.microsoft.com/office/drawing/2014/main" id="{27C8707D-98F8-4568-A4BD-442DFA8670D7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Freeform: Shape 818">
              <a:extLst>
                <a:ext uri="{FF2B5EF4-FFF2-40B4-BE49-F238E27FC236}">
                  <a16:creationId xmlns:a16="http://schemas.microsoft.com/office/drawing/2014/main" id="{4EF73B00-CAB3-43CA-97AA-60092C179800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70" name="Freeform: Shape 819">
              <a:extLst>
                <a:ext uri="{FF2B5EF4-FFF2-40B4-BE49-F238E27FC236}">
                  <a16:creationId xmlns:a16="http://schemas.microsoft.com/office/drawing/2014/main" id="{32A8B49E-5908-4040-B13C-988A5D54DC3C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1" name="Shape 101">
            <a:extLst>
              <a:ext uri="{FF2B5EF4-FFF2-40B4-BE49-F238E27FC236}">
                <a16:creationId xmlns:a16="http://schemas.microsoft.com/office/drawing/2014/main" id="{643E2A7F-6E30-4334-AC9D-4359271E42A6}"/>
              </a:ext>
            </a:extLst>
          </p:cNvPr>
          <p:cNvSpPr txBox="1"/>
          <p:nvPr/>
        </p:nvSpPr>
        <p:spPr>
          <a:xfrm>
            <a:off x="10602630" y="5387437"/>
            <a:ext cx="1516015" cy="25387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Browser/Device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05896833-F843-4227-902F-1FC1F976B229}"/>
              </a:ext>
            </a:extLst>
          </p:cNvPr>
          <p:cNvGrpSpPr/>
          <p:nvPr/>
        </p:nvGrpSpPr>
        <p:grpSpPr>
          <a:xfrm>
            <a:off x="10818474" y="4879638"/>
            <a:ext cx="669375" cy="526560"/>
            <a:chOff x="10725498" y="5087603"/>
            <a:chExt cx="498940" cy="424437"/>
          </a:xfrm>
        </p:grpSpPr>
        <p:sp>
          <p:nvSpPr>
            <p:cNvPr id="73" name="graph_2">
              <a:extLst>
                <a:ext uri="{FF2B5EF4-FFF2-40B4-BE49-F238E27FC236}">
                  <a16:creationId xmlns:a16="http://schemas.microsoft.com/office/drawing/2014/main" id="{37D02ADC-1749-4E4A-A3AC-187745E6E7B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D8364ADF-C3BE-4F4D-9BE3-D3436D3E3B39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75" name="Rectangle 9">
                <a:extLst>
                  <a:ext uri="{FF2B5EF4-FFF2-40B4-BE49-F238E27FC236}">
                    <a16:creationId xmlns:a16="http://schemas.microsoft.com/office/drawing/2014/main" id="{E17075C8-4FB3-44C6-B3F3-C4D79F0D6B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" name="Line 10">
                <a:extLst>
                  <a:ext uri="{FF2B5EF4-FFF2-40B4-BE49-F238E27FC236}">
                    <a16:creationId xmlns:a16="http://schemas.microsoft.com/office/drawing/2014/main" id="{9E4815A8-BB5B-4142-A7DD-2EAB0E6915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" name="Oval 11">
                <a:extLst>
                  <a:ext uri="{FF2B5EF4-FFF2-40B4-BE49-F238E27FC236}">
                    <a16:creationId xmlns:a16="http://schemas.microsoft.com/office/drawing/2014/main" id="{9EA22788-4CE4-427F-9D48-BA75D83BA7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" name="Oval 12">
                <a:extLst>
                  <a:ext uri="{FF2B5EF4-FFF2-40B4-BE49-F238E27FC236}">
                    <a16:creationId xmlns:a16="http://schemas.microsoft.com/office/drawing/2014/main" id="{2D3F8121-BF6F-4501-9161-6FAADB31E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" name="Oval 13">
                <a:extLst>
                  <a:ext uri="{FF2B5EF4-FFF2-40B4-BE49-F238E27FC236}">
                    <a16:creationId xmlns:a16="http://schemas.microsoft.com/office/drawing/2014/main" id="{6C58CA77-F595-4C9D-93BB-CA3E398CC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1D6A1725-95CF-4A8E-A877-93FC73849533}"/>
              </a:ext>
            </a:extLst>
          </p:cNvPr>
          <p:cNvGrpSpPr/>
          <p:nvPr/>
        </p:nvGrpSpPr>
        <p:grpSpPr>
          <a:xfrm>
            <a:off x="6916933" y="2430582"/>
            <a:ext cx="595274" cy="485668"/>
            <a:chOff x="5818113" y="2550840"/>
            <a:chExt cx="529278" cy="431824"/>
          </a:xfrm>
        </p:grpSpPr>
        <p:sp>
          <p:nvSpPr>
            <p:cNvPr id="81" name="Diamond 80">
              <a:extLst>
                <a:ext uri="{FF2B5EF4-FFF2-40B4-BE49-F238E27FC236}">
                  <a16:creationId xmlns:a16="http://schemas.microsoft.com/office/drawing/2014/main" id="{70E37336-7214-4FDD-ACE6-5DFAB4D8ACFB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5A580FB0-85B5-4481-B3CF-47896F04F80A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04401A94-2B95-4788-A3F9-5C6010700C84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FC45EA7-11FE-454D-BB8B-376CDA1CE5FB}"/>
              </a:ext>
            </a:extLst>
          </p:cNvPr>
          <p:cNvSpPr/>
          <p:nvPr/>
        </p:nvSpPr>
        <p:spPr bwMode="auto">
          <a:xfrm>
            <a:off x="8616021" y="1749131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4404849-2604-463D-8192-3E4BD6AEE1DF}"/>
              </a:ext>
            </a:extLst>
          </p:cNvPr>
          <p:cNvSpPr/>
          <p:nvPr/>
        </p:nvSpPr>
        <p:spPr bwMode="auto">
          <a:xfrm>
            <a:off x="6608998" y="1749131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D68BDF6-CA54-4CAA-829E-B0A404874D92}"/>
              </a:ext>
            </a:extLst>
          </p:cNvPr>
          <p:cNvSpPr/>
          <p:nvPr/>
        </p:nvSpPr>
        <p:spPr bwMode="auto">
          <a:xfrm>
            <a:off x="4564817" y="1749131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E11F27E-562A-4641-8F70-0AFF53915489}"/>
              </a:ext>
            </a:extLst>
          </p:cNvPr>
          <p:cNvSpPr/>
          <p:nvPr/>
        </p:nvSpPr>
        <p:spPr bwMode="auto">
          <a:xfrm>
            <a:off x="2609300" y="1749131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811BF68E-FF3D-4C95-998C-25D2EADFC370}"/>
              </a:ext>
            </a:extLst>
          </p:cNvPr>
          <p:cNvCxnSpPr>
            <a:cxnSpLocks/>
            <a:stCxn id="14" idx="2"/>
          </p:cNvCxnSpPr>
          <p:nvPr/>
        </p:nvCxnSpPr>
        <p:spPr>
          <a:xfrm rot="16200000" flipH="1">
            <a:off x="7519240" y="3036798"/>
            <a:ext cx="989616" cy="1593945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97732004-1A4C-4443-8298-8E71973144A3}"/>
              </a:ext>
            </a:extLst>
          </p:cNvPr>
          <p:cNvSpPr/>
          <p:nvPr/>
        </p:nvSpPr>
        <p:spPr bwMode="auto">
          <a:xfrm>
            <a:off x="10420291" y="1770094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83E8CD5A-4B0D-4E69-9FBB-8D2CA97C1735}"/>
              </a:ext>
            </a:extLst>
          </p:cNvPr>
          <p:cNvSpPr/>
          <p:nvPr/>
        </p:nvSpPr>
        <p:spPr bwMode="auto">
          <a:xfrm>
            <a:off x="8876002" y="4181263"/>
            <a:ext cx="1039148" cy="616657"/>
          </a:xfrm>
          <a:prstGeom prst="ellipse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Segoe UI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C3D513F-7288-44F9-9294-3F4973BA45DD}"/>
              </a:ext>
            </a:extLst>
          </p:cNvPr>
          <p:cNvSpPr/>
          <p:nvPr/>
        </p:nvSpPr>
        <p:spPr>
          <a:xfrm>
            <a:off x="8875764" y="4362660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smosDB</a:t>
            </a: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B9F6B9FF-73C3-4C67-A907-49C11078F9AF}"/>
              </a:ext>
            </a:extLst>
          </p:cNvPr>
          <p:cNvCxnSpPr>
            <a:cxnSpLocks/>
          </p:cNvCxnSpPr>
          <p:nvPr/>
        </p:nvCxnSpPr>
        <p:spPr>
          <a:xfrm>
            <a:off x="9364306" y="4843871"/>
            <a:ext cx="0" cy="30434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E3A241F0-21B9-47D7-A79F-A9E535EF3FC4}"/>
              </a:ext>
            </a:extLst>
          </p:cNvPr>
          <p:cNvSpPr/>
          <p:nvPr/>
        </p:nvSpPr>
        <p:spPr bwMode="auto">
          <a:xfrm>
            <a:off x="8988152" y="5187649"/>
            <a:ext cx="886854" cy="502982"/>
          </a:xfrm>
          <a:prstGeom prst="rect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Segoe UI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2DAE59F-3BF7-4734-B94A-367F6C742DC4}"/>
              </a:ext>
            </a:extLst>
          </p:cNvPr>
          <p:cNvSpPr/>
          <p:nvPr/>
        </p:nvSpPr>
        <p:spPr>
          <a:xfrm>
            <a:off x="8908038" y="528527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aaS App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AB9145F5-7D05-4400-9F36-3F7C247695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136" y="3074760"/>
            <a:ext cx="1627773" cy="1347333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CE912937-96B4-4814-9B0F-2C9EDB8782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8152" y="3958971"/>
            <a:ext cx="795521" cy="41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79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A0392-90B2-43B0-9421-F28609BA8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172" y="2588769"/>
            <a:ext cx="5065486" cy="1680460"/>
          </a:xfrm>
        </p:spPr>
        <p:txBody>
          <a:bodyPr/>
          <a:lstStyle/>
          <a:p>
            <a:r>
              <a:rPr lang="en-US" sz="3600" dirty="0"/>
              <a:t>Demo:</a:t>
            </a:r>
            <a:br>
              <a:rPr lang="en-US" sz="3600" dirty="0"/>
            </a:br>
            <a:r>
              <a:rPr lang="en-US" sz="3600" dirty="0"/>
              <a:t>Impact analysis pipeline for airline IROP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85DD90-381C-427D-A9D8-F9A10AD82F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249785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5F8BA-DD9D-4376-8509-72FC89781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15663"/>
          </a:xfrm>
        </p:spPr>
        <p:txBody>
          <a:bodyPr/>
          <a:lstStyle/>
          <a:p>
            <a:r>
              <a:rPr lang="en-US" sz="6000" dirty="0"/>
              <a:t>ADF Overview</a:t>
            </a:r>
          </a:p>
        </p:txBody>
      </p:sp>
    </p:spTree>
    <p:extLst>
      <p:ext uri="{BB962C8B-B14F-4D97-AF65-F5344CB8AC3E}">
        <p14:creationId xmlns:p14="http://schemas.microsoft.com/office/powerpoint/2010/main" val="368166402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3979888-81B7-4B5F-B4B5-70ED2543E769}"/>
              </a:ext>
            </a:extLst>
          </p:cNvPr>
          <p:cNvSpPr/>
          <p:nvPr/>
        </p:nvSpPr>
        <p:spPr bwMode="auto">
          <a:xfrm>
            <a:off x="0" y="2982676"/>
            <a:ext cx="12192000" cy="38753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386409-3525-4A1A-8A60-22C3A15446D2}"/>
              </a:ext>
            </a:extLst>
          </p:cNvPr>
          <p:cNvSpPr/>
          <p:nvPr/>
        </p:nvSpPr>
        <p:spPr>
          <a:xfrm>
            <a:off x="3765455" y="631015"/>
            <a:ext cx="435728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4400" b="1" spc="-147" dirty="0">
                <a:ln w="3175">
                  <a:noFill/>
                </a:ln>
                <a:solidFill>
                  <a:srgbClr val="FFFFFF"/>
                </a:solidFill>
                <a:latin typeface="+mj-lt"/>
                <a:ea typeface="+mj-ea"/>
                <a:cs typeface="+mj-cs"/>
              </a:rPr>
              <a:t>Azure Data Factor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4157E4E-DB31-4304-97F9-4235A47F50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4611" y="703752"/>
            <a:ext cx="1448447" cy="14419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999E0C9-4433-4A50-8A4E-7209A3B5C0D0}"/>
              </a:ext>
            </a:extLst>
          </p:cNvPr>
          <p:cNvSpPr txBox="1"/>
          <p:nvPr/>
        </p:nvSpPr>
        <p:spPr>
          <a:xfrm>
            <a:off x="3765455" y="1473193"/>
            <a:ext cx="53917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93"/>
            <a:r>
              <a:rPr lang="en-US" sz="2400" spc="-100" dirty="0">
                <a:ln w="3175">
                  <a:noFill/>
                </a:ln>
                <a:solidFill>
                  <a:srgbClr val="FFFFFF"/>
                </a:solidFill>
                <a:latin typeface="Segoe UI"/>
              </a:rPr>
              <a:t>A fully-managed data integration service </a:t>
            </a:r>
          </a:p>
          <a:p>
            <a:pPr defTabSz="914093"/>
            <a:r>
              <a:rPr lang="en-US" sz="2400" spc="-100" dirty="0">
                <a:ln w="3175">
                  <a:noFill/>
                </a:ln>
                <a:solidFill>
                  <a:srgbClr val="FFFFFF"/>
                </a:solidFill>
                <a:latin typeface="Segoe UI"/>
              </a:rPr>
              <a:t>for cloud-scale analytics in Azu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970C6A-290F-4DC8-A566-07CEF14CA583}"/>
              </a:ext>
            </a:extLst>
          </p:cNvPr>
          <p:cNvSpPr/>
          <p:nvPr/>
        </p:nvSpPr>
        <p:spPr>
          <a:xfrm>
            <a:off x="4162831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/>
            <a:r>
              <a:rPr lang="en-US" sz="1400" b="1" spc="300" dirty="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alable &amp; Cost-Effect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1F6C7D-7539-41BF-B4D6-7A3C64CF49EC}"/>
              </a:ext>
            </a:extLst>
          </p:cNvPr>
          <p:cNvSpPr/>
          <p:nvPr/>
        </p:nvSpPr>
        <p:spPr>
          <a:xfrm>
            <a:off x="1379774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 dirty="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nected &amp; Integrat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2E7519-6B05-4CC4-97DB-961EFC2CF276}"/>
              </a:ext>
            </a:extLst>
          </p:cNvPr>
          <p:cNvSpPr/>
          <p:nvPr/>
        </p:nvSpPr>
        <p:spPr>
          <a:xfrm>
            <a:off x="9378868" y="4458186"/>
            <a:ext cx="1941719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 dirty="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116311-80A8-43A5-A363-EF155F37B0E7}"/>
              </a:ext>
            </a:extLst>
          </p:cNvPr>
          <p:cNvSpPr/>
          <p:nvPr/>
        </p:nvSpPr>
        <p:spPr>
          <a:xfrm>
            <a:off x="6702306" y="4350464"/>
            <a:ext cx="194171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913918">
              <a:defRPr/>
            </a:pPr>
            <a:r>
              <a:rPr lang="en-US" sz="1400" b="1" spc="300" dirty="0">
                <a:solidFill>
                  <a:srgbClr val="44546A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cure &amp; Complia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AF1ABF-B4F8-425A-93D4-D11F300E0ED0}"/>
              </a:ext>
            </a:extLst>
          </p:cNvPr>
          <p:cNvSpPr/>
          <p:nvPr/>
        </p:nvSpPr>
        <p:spPr>
          <a:xfrm>
            <a:off x="1421339" y="5140093"/>
            <a:ext cx="1970672" cy="1175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Rich connectivity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Flexible orchestration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Full integration with Azure Data servic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1CF7133-F172-4661-AEEE-8805F3F81D3F}"/>
              </a:ext>
            </a:extLst>
          </p:cNvPr>
          <p:cNvSpPr/>
          <p:nvPr/>
        </p:nvSpPr>
        <p:spPr>
          <a:xfrm>
            <a:off x="9654003" y="5140093"/>
            <a:ext cx="1970672" cy="1545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Drag &amp; drop UI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Single-pane-of-glass monitoring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CICD model</a:t>
            </a:r>
          </a:p>
          <a:p>
            <a:pPr marL="279983" indent="-279983" defTabSz="913742">
              <a:buFont typeface="Wingdings" panose="05000000000000000000" pitchFamily="2" charset="2"/>
              <a:buChar char="ü"/>
              <a:defRPr/>
            </a:pPr>
            <a:endParaRPr lang="en-US" sz="1400" dirty="0">
              <a:solidFill>
                <a:srgbClr val="0078D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CA1E9BB-3F5E-4564-9BD8-1933156F7C00}"/>
              </a:ext>
            </a:extLst>
          </p:cNvPr>
          <p:cNvSpPr/>
          <p:nvPr/>
        </p:nvSpPr>
        <p:spPr>
          <a:xfrm>
            <a:off x="4282608" y="5140093"/>
            <a:ext cx="1969258" cy="827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Serverless scalability without infra mgmt.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Pay for us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7DF84E-BA03-496C-8F32-6B15421F7E7F}"/>
              </a:ext>
            </a:extLst>
          </p:cNvPr>
          <p:cNvSpPr/>
          <p:nvPr/>
        </p:nvSpPr>
        <p:spPr>
          <a:xfrm>
            <a:off x="6859285" y="5140093"/>
            <a:ext cx="2087287" cy="9702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Certified compliance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Enterprise grade security</a:t>
            </a:r>
          </a:p>
          <a:p>
            <a:pPr>
              <a:lnSpc>
                <a:spcPct val="90000"/>
              </a:lnSpc>
              <a:spcAft>
                <a:spcPts val="1176"/>
              </a:spcAft>
              <a:defRPr/>
            </a:pPr>
            <a:r>
              <a:rPr lang="en-US" sz="1372" dirty="0">
                <a:solidFill>
                  <a:schemeClr val="accent1"/>
                </a:solidFill>
                <a:latin typeface="Segoe UI"/>
              </a:rPr>
              <a:t>MSI and AKV support</a:t>
            </a:r>
          </a:p>
        </p:txBody>
      </p:sp>
      <p:pic>
        <p:nvPicPr>
          <p:cNvPr id="19" name="Graphic 18" descr="Network">
            <a:extLst>
              <a:ext uri="{FF2B5EF4-FFF2-40B4-BE49-F238E27FC236}">
                <a16:creationId xmlns:a16="http://schemas.microsoft.com/office/drawing/2014/main" id="{B7024731-9B99-423C-ADB1-98AE445212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93433" y="3320504"/>
            <a:ext cx="914400" cy="914400"/>
          </a:xfrm>
          <a:prstGeom prst="rect">
            <a:avLst/>
          </a:prstGeom>
        </p:spPr>
      </p:pic>
      <p:pic>
        <p:nvPicPr>
          <p:cNvPr id="21" name="Graphic 20" descr="Upward trend">
            <a:extLst>
              <a:ext uri="{FF2B5EF4-FFF2-40B4-BE49-F238E27FC236}">
                <a16:creationId xmlns:a16="http://schemas.microsoft.com/office/drawing/2014/main" id="{3D2A56B4-AD9C-4AD5-A492-578A473DB1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76490" y="3320504"/>
            <a:ext cx="914400" cy="914400"/>
          </a:xfrm>
          <a:prstGeom prst="rect">
            <a:avLst/>
          </a:prstGeom>
        </p:spPr>
      </p:pic>
      <p:pic>
        <p:nvPicPr>
          <p:cNvPr id="25" name="Graphic 24" descr="Lock">
            <a:extLst>
              <a:ext uri="{FF2B5EF4-FFF2-40B4-BE49-F238E27FC236}">
                <a16:creationId xmlns:a16="http://schemas.microsoft.com/office/drawing/2014/main" id="{F133A09A-CDB5-48E6-B946-9176594272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06767" y="3320504"/>
            <a:ext cx="914400" cy="914400"/>
          </a:xfrm>
          <a:prstGeom prst="rect">
            <a:avLst/>
          </a:prstGeom>
        </p:spPr>
      </p:pic>
      <p:pic>
        <p:nvPicPr>
          <p:cNvPr id="27" name="Graphic 26" descr="Stopwatch">
            <a:extLst>
              <a:ext uri="{FF2B5EF4-FFF2-40B4-BE49-F238E27FC236}">
                <a16:creationId xmlns:a16="http://schemas.microsoft.com/office/drawing/2014/main" id="{E2363892-779D-4074-90B0-4E9A77A5C4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885503" y="332050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21404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3B91A-3179-407A-9D4D-722EAFFD2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3918">
              <a:defRPr/>
            </a:pPr>
            <a:r>
              <a:rPr lang="en-US" sz="3920" b="1" dirty="0">
                <a:solidFill>
                  <a:srgbClr val="0078D7"/>
                </a:solidFill>
                <a:latin typeface="Segoe UI Light (Headings)"/>
              </a:rPr>
              <a:t>Lift Existing SSIS + SQL Projects to Clou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576352-3AF1-42C7-9108-505FB4E52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7244" y="5351849"/>
            <a:ext cx="1667115" cy="26288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0F32B31-41B1-4723-B025-86D4AC15CE10}"/>
              </a:ext>
            </a:extLst>
          </p:cNvPr>
          <p:cNvCxnSpPr/>
          <p:nvPr/>
        </p:nvCxnSpPr>
        <p:spPr>
          <a:xfrm>
            <a:off x="281392" y="3999514"/>
            <a:ext cx="11590119" cy="67770"/>
          </a:xfrm>
          <a:prstGeom prst="line">
            <a:avLst/>
          </a:prstGeom>
          <a:ln w="12700">
            <a:solidFill>
              <a:schemeClr val="accent1">
                <a:shade val="95000"/>
                <a:satMod val="150000"/>
                <a:alpha val="30000"/>
              </a:schemeClr>
            </a:solidFill>
            <a:prstDash val="dash"/>
            <a:headEnd type="none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087FCFDC-33BF-4231-8900-2C67BBC49068}"/>
              </a:ext>
            </a:extLst>
          </p:cNvPr>
          <p:cNvGrpSpPr/>
          <p:nvPr/>
        </p:nvGrpSpPr>
        <p:grpSpPr>
          <a:xfrm>
            <a:off x="8864984" y="4919709"/>
            <a:ext cx="1380494" cy="926165"/>
            <a:chOff x="8864984" y="4919709"/>
            <a:chExt cx="1380494" cy="92616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EFB48F8-9B07-429D-859E-338B6AF0EC0F}"/>
                </a:ext>
              </a:extLst>
            </p:cNvPr>
            <p:cNvSpPr/>
            <p:nvPr/>
          </p:nvSpPr>
          <p:spPr>
            <a:xfrm>
              <a:off x="8864984" y="5539913"/>
              <a:ext cx="1380494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SQL Server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69AA5C0-139D-4054-A44C-2F18CE9E0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223" y="4919709"/>
              <a:ext cx="647367" cy="69502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92895A3-5FC5-4AF1-958C-4FE72FBFC86D}"/>
              </a:ext>
            </a:extLst>
          </p:cNvPr>
          <p:cNvGrpSpPr/>
          <p:nvPr/>
        </p:nvGrpSpPr>
        <p:grpSpPr>
          <a:xfrm>
            <a:off x="1767929" y="4881489"/>
            <a:ext cx="2238009" cy="967746"/>
            <a:chOff x="2029191" y="5129863"/>
            <a:chExt cx="2238009" cy="96774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A052CE6-D39E-4BCC-85A6-FF22E391EE8E}"/>
                </a:ext>
              </a:extLst>
            </p:cNvPr>
            <p:cNvSpPr/>
            <p:nvPr/>
          </p:nvSpPr>
          <p:spPr>
            <a:xfrm>
              <a:off x="2029191" y="5791648"/>
              <a:ext cx="2238009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On-Premise data sources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49EA178-56F8-4E28-814A-5BB0B5C694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99959" y="5129863"/>
              <a:ext cx="817365" cy="679691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6161237-E0AD-4851-9FB8-54D719B81283}"/>
              </a:ext>
            </a:extLst>
          </p:cNvPr>
          <p:cNvGrpSpPr/>
          <p:nvPr/>
        </p:nvGrpSpPr>
        <p:grpSpPr>
          <a:xfrm>
            <a:off x="2047678" y="2079124"/>
            <a:ext cx="1615904" cy="1148879"/>
            <a:chOff x="2125548" y="1857159"/>
            <a:chExt cx="1615904" cy="114887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E40BCA5-6171-49E9-8544-9FFE25AEFE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12363" y="1857159"/>
              <a:ext cx="904883" cy="921042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9BE89D8-B0B7-4711-8FDE-0A9A7840803D}"/>
                </a:ext>
              </a:extLst>
            </p:cNvPr>
            <p:cNvSpPr/>
            <p:nvPr/>
          </p:nvSpPr>
          <p:spPr>
            <a:xfrm>
              <a:off x="2125548" y="2700077"/>
              <a:ext cx="1615904" cy="30596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Cloud data sources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17B45166-CD6E-4FDF-A4A3-331B4A138319}"/>
              </a:ext>
            </a:extLst>
          </p:cNvPr>
          <p:cNvSpPr/>
          <p:nvPr/>
        </p:nvSpPr>
        <p:spPr>
          <a:xfrm>
            <a:off x="118378" y="3717848"/>
            <a:ext cx="769852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04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D36EC04-C6D9-401A-9D13-13BBD3DC92F5}"/>
              </a:ext>
            </a:extLst>
          </p:cNvPr>
          <p:cNvSpPr/>
          <p:nvPr/>
        </p:nvSpPr>
        <p:spPr>
          <a:xfrm>
            <a:off x="118378" y="3999514"/>
            <a:ext cx="1192231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04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n-premis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6C95CD6-8914-49DA-94A0-085D0B2514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7393" y="5351849"/>
            <a:ext cx="1839111" cy="26288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8624B8D-975F-4D6D-98BB-E5D4A6189910}"/>
              </a:ext>
            </a:extLst>
          </p:cNvPr>
          <p:cNvGrpSpPr/>
          <p:nvPr/>
        </p:nvGrpSpPr>
        <p:grpSpPr>
          <a:xfrm>
            <a:off x="3796081" y="3268614"/>
            <a:ext cx="2077433" cy="2344870"/>
            <a:chOff x="3796081" y="3268614"/>
            <a:chExt cx="2077433" cy="234487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299BE50-96BB-4B3A-A568-7A59F9BBD119}"/>
                </a:ext>
              </a:extLst>
            </p:cNvPr>
            <p:cNvSpPr/>
            <p:nvPr/>
          </p:nvSpPr>
          <p:spPr>
            <a:xfrm>
              <a:off x="4178141" y="4318176"/>
              <a:ext cx="725996" cy="27155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69646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VNET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CE0C34F-932C-469A-B8F6-F612AD499A92}"/>
                </a:ext>
              </a:extLst>
            </p:cNvPr>
            <p:cNvGrpSpPr/>
            <p:nvPr/>
          </p:nvGrpSpPr>
          <p:grpSpPr>
            <a:xfrm>
              <a:off x="3796081" y="3268614"/>
              <a:ext cx="2077433" cy="2344870"/>
              <a:chOff x="3796081" y="3268614"/>
              <a:chExt cx="2077433" cy="2344870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D9E48BF8-592C-418C-8000-F5E93AB193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01165" y="3703597"/>
                <a:ext cx="930843" cy="668922"/>
              </a:xfrm>
              <a:prstGeom prst="rect">
                <a:avLst/>
              </a:prstGeom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54C6F9F9-DBE0-4860-869D-6A6A1DEA34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96081" y="4523617"/>
                <a:ext cx="828598" cy="1089867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2C18B4C1-E9E5-4505-A0FE-2D553D24E6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79452" y="3268614"/>
                <a:ext cx="994062" cy="1042711"/>
              </a:xfrm>
              <a:prstGeom prst="rect">
                <a:avLst/>
              </a:prstGeom>
            </p:spPr>
          </p:pic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1462EE93-1AFD-415C-A129-89B84B27836F}"/>
              </a:ext>
            </a:extLst>
          </p:cNvPr>
          <p:cNvSpPr txBox="1"/>
          <p:nvPr/>
        </p:nvSpPr>
        <p:spPr>
          <a:xfrm>
            <a:off x="5444360" y="5183777"/>
            <a:ext cx="1982204" cy="8771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QL Server Integration Services (SSIS)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844936-6E44-4C3F-A522-6434FA54ABFD}"/>
              </a:ext>
            </a:extLst>
          </p:cNvPr>
          <p:cNvGrpSpPr/>
          <p:nvPr/>
        </p:nvGrpSpPr>
        <p:grpSpPr>
          <a:xfrm>
            <a:off x="3777243" y="2250630"/>
            <a:ext cx="6747678" cy="2440660"/>
            <a:chOff x="3777243" y="2250630"/>
            <a:chExt cx="6747678" cy="2440660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4FF578B-96D5-4938-884E-D81CD02B4501}"/>
                </a:ext>
              </a:extLst>
            </p:cNvPr>
            <p:cNvGrpSpPr/>
            <p:nvPr/>
          </p:nvGrpSpPr>
          <p:grpSpPr>
            <a:xfrm>
              <a:off x="8352997" y="2258851"/>
              <a:ext cx="2171924" cy="969151"/>
              <a:chOff x="8352997" y="2258851"/>
              <a:chExt cx="2171924" cy="969151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462D118B-252D-4DB2-80B6-3DEC16A469E0}"/>
                  </a:ext>
                </a:extLst>
              </p:cNvPr>
              <p:cNvSpPr/>
              <p:nvPr/>
            </p:nvSpPr>
            <p:spPr>
              <a:xfrm>
                <a:off x="8352997" y="2922041"/>
                <a:ext cx="2171924" cy="305961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42" tIns="44821" rIns="89642" bIns="44821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SQL DB Managed Instance</a:t>
                </a: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E4F1F885-ECF8-41D5-B67F-FFDD697954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97742" y="2258851"/>
                <a:ext cx="731848" cy="721958"/>
              </a:xfrm>
              <a:prstGeom prst="rect">
                <a:avLst/>
              </a:prstGeom>
            </p:spPr>
          </p:pic>
        </p:grp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8B8A4EF-25FB-4E7C-83C0-D65579C09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7243" y="2547754"/>
              <a:ext cx="1667115" cy="262886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61B39D3-41A7-4760-AAE5-53CC096FD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7393" y="2514365"/>
              <a:ext cx="1679964" cy="262886"/>
            </a:xfrm>
            <a:prstGeom prst="rect">
              <a:avLst/>
            </a:prstGeom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712D71A-3131-471C-A838-896F9B2F5C54}"/>
                </a:ext>
              </a:extLst>
            </p:cNvPr>
            <p:cNvGrpSpPr/>
            <p:nvPr/>
          </p:nvGrpSpPr>
          <p:grpSpPr>
            <a:xfrm>
              <a:off x="5286882" y="2250630"/>
              <a:ext cx="2222540" cy="983864"/>
              <a:chOff x="5102951" y="2250630"/>
              <a:chExt cx="2222540" cy="983864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7DAF879-D8CD-457A-8FD7-733AC97BC068}"/>
                  </a:ext>
                </a:extLst>
              </p:cNvPr>
              <p:cNvSpPr/>
              <p:nvPr/>
            </p:nvSpPr>
            <p:spPr>
              <a:xfrm>
                <a:off x="5102951" y="2926717"/>
                <a:ext cx="2222540" cy="3077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Azure Data Factory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7EB30429-A9CC-4C6E-B80E-6B866563BC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16037" y="2250630"/>
                <a:ext cx="688925" cy="679615"/>
              </a:xfrm>
              <a:prstGeom prst="rect">
                <a:avLst/>
              </a:prstGeom>
            </p:spPr>
          </p:pic>
        </p:grp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3C13BA53-8ED4-4C3A-BAEF-F78D68C95D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99504" y="3502570"/>
              <a:ext cx="0" cy="118872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43325184-719F-489D-9758-17A2F38E69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47200" y="3502570"/>
              <a:ext cx="0" cy="118872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5617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10.xml><?xml version="1.0" encoding="utf-8"?>
<a:theme xmlns:a="http://schemas.openxmlformats.org/drawingml/2006/main" name="6_5-50173_Microsoft_Ready_Light_Template">
  <a:themeElements>
    <a:clrScheme name="Custom 3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0D1621-7EC8-4B51-A678-36097813A578}" vid="{BABC4CDB-E230-49BE-A9F6-33781B02F17C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1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14.xml><?xml version="1.0" encoding="utf-8"?>
<a:theme xmlns:a="http://schemas.openxmlformats.org/drawingml/2006/main" name="1_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15.xml><?xml version="1.0" encoding="utf-8"?>
<a:theme xmlns:a="http://schemas.openxmlformats.org/drawingml/2006/main" name="Azure PPT Template - 2018">
  <a:themeElements>
    <a:clrScheme name="Azure DevOps">
      <a:dk1>
        <a:srgbClr val="000000"/>
      </a:dk1>
      <a:lt1>
        <a:srgbClr val="FFFFFF"/>
      </a:lt1>
      <a:dk2>
        <a:srgbClr val="0078D7"/>
      </a:dk2>
      <a:lt2>
        <a:srgbClr val="FFFFFF"/>
      </a:lt2>
      <a:accent1>
        <a:srgbClr val="0078D7"/>
      </a:accent1>
      <a:accent2>
        <a:srgbClr val="4DB0FF"/>
      </a:accent2>
      <a:accent3>
        <a:srgbClr val="B1D6F2"/>
      </a:accent3>
      <a:accent4>
        <a:srgbClr val="035AA0"/>
      </a:accent4>
      <a:accent5>
        <a:srgbClr val="94D0FF"/>
      </a:accent5>
      <a:accent6>
        <a:srgbClr val="797979"/>
      </a:accent6>
      <a:hlink>
        <a:srgbClr val="0078D7"/>
      </a:hlink>
      <a:folHlink>
        <a:srgbClr val="00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PT Template 2018 presentation_v3" id="{1968021E-D85B-4A85-BB07-6BF24CCBC27F}" vid="{6E53F19A-D2E9-48F2-9B61-183D930FD7CB}"/>
    </a:ext>
  </a:extLst>
</a:theme>
</file>

<file path=ppt/theme/theme16.xml><?xml version="1.0" encoding="utf-8"?>
<a:theme xmlns:a="http://schemas.openxmlformats.org/drawingml/2006/main" name="5-50201_Microsoft_Ready_Template">
  <a:themeElements>
    <a:clrScheme name="Microsoft Ready + Microsoft Inspir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737373"/>
      </a:accent3>
      <a:accent4>
        <a:srgbClr val="5C2D91"/>
      </a:accent4>
      <a:accent5>
        <a:srgbClr val="BAD80A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ta Engineering with Azure Databricks and Azure SQL DW to create your Modern Data Warehouse.potx" id="{E038BBD7-DA87-4434-B163-F79C17D36ADF}" vid="{9FDDA1E9-4A00-4E2B-ADE5-26B570CDF824}"/>
    </a:ext>
  </a:extLst>
</a:theme>
</file>

<file path=ppt/theme/theme17.xml><?xml version="1.0" encoding="utf-8"?>
<a:theme xmlns:a="http://schemas.openxmlformats.org/drawingml/2006/main" name="2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ta Engineering with Azure Databricks and Azure SQL DW to create your Modern Data Warehouse.potx" id="{E038BBD7-DA87-4434-B163-F79C17D36ADF}" vid="{0D197597-5802-4F59-9FB3-EEA4CE0331CD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dern DW">
  <a:themeElements>
    <a:clrScheme name="Custom 21">
      <a:dk1>
        <a:srgbClr val="505050"/>
      </a:dk1>
      <a:lt1>
        <a:srgbClr val="FFFFFF"/>
      </a:lt1>
      <a:dk2>
        <a:srgbClr val="002050"/>
      </a:dk2>
      <a:lt2>
        <a:srgbClr val="70C7FF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70C7FF"/>
      </a:hlink>
      <a:folHlink>
        <a:srgbClr val="0078D7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4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5.xml><?xml version="1.0" encoding="utf-8"?>
<a:theme xmlns:a="http://schemas.openxmlformats.org/drawingml/2006/main" name="Microsoft Analytics &amp; Business Intelligence Partner Airlift">
  <a:themeElements>
    <a:clrScheme name="AA Airlift 2016">
      <a:dk1>
        <a:srgbClr val="505050"/>
      </a:dk1>
      <a:lt1>
        <a:srgbClr val="FFFFFF"/>
      </a:lt1>
      <a:dk2>
        <a:srgbClr val="0072C6"/>
      </a:dk2>
      <a:lt2>
        <a:srgbClr val="69C8CA"/>
      </a:lt2>
      <a:accent1>
        <a:srgbClr val="002050"/>
      </a:accent1>
      <a:accent2>
        <a:srgbClr val="B4009E"/>
      </a:accent2>
      <a:accent3>
        <a:srgbClr val="0072C6"/>
      </a:accent3>
      <a:accent4>
        <a:srgbClr val="008272"/>
      </a:accent4>
      <a:accent5>
        <a:srgbClr val="4668C5"/>
      </a:accent5>
      <a:accent6>
        <a:srgbClr val="68217A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 Analytics &amp; Business Intelligence Partner Airlift" id="{82F75C06-84D9-45DE-9414-AEC4320F6D88}" vid="{2FD723AC-42B4-484E-8C5D-EDFB37631561}"/>
    </a:ext>
  </a:extLst>
</a:theme>
</file>

<file path=ppt/theme/theme6.xml><?xml version="1.0" encoding="utf-8"?>
<a:theme xmlns:a="http://schemas.openxmlformats.org/drawingml/2006/main" name="1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7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8.xml><?xml version="1.0" encoding="utf-8"?>
<a:theme xmlns:a="http://schemas.openxmlformats.org/drawingml/2006/main" name="2_5-50113_Microsoft_Ready_Light_Template">
  <a:themeElements>
    <a:clrScheme name="Microsoft Ready Light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00188F"/>
      </a:accent2>
      <a:accent3>
        <a:srgbClr val="0078D7"/>
      </a:accent3>
      <a:accent4>
        <a:srgbClr val="00BCF2"/>
      </a:accent4>
      <a:accent5>
        <a:srgbClr val="00B294"/>
      </a:accent5>
      <a:accent6>
        <a:srgbClr val="BAD80A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Template_16x9.potx" id="{73CD10E5-6BB9-40C7-89C8-F0CB96ABC0CF}" vid="{54E896AB-26A2-40C9-9B4F-5BD4E8E2E72B}"/>
    </a:ext>
  </a:extLst>
</a:theme>
</file>

<file path=ppt/theme/theme9.xml><?xml version="1.0" encoding="utf-8"?>
<a:theme xmlns:a="http://schemas.openxmlformats.org/drawingml/2006/main" name="5-50195_Microsoft_Build_Template">
  <a:themeElements>
    <a:clrScheme name="Microsoft Build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05050"/>
      </a:accent1>
      <a:accent2>
        <a:srgbClr val="D2D2D2"/>
      </a:accent2>
      <a:accent3>
        <a:srgbClr val="E3008C"/>
      </a:accent3>
      <a:accent4>
        <a:srgbClr val="32145A"/>
      </a:accent4>
      <a:accent5>
        <a:srgbClr val="2139B5"/>
      </a:accent5>
      <a:accent6>
        <a:srgbClr val="E6E6E6"/>
      </a:accent6>
      <a:hlink>
        <a:srgbClr val="2139B5"/>
      </a:hlink>
      <a:folHlink>
        <a:srgbClr val="2139B5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8_16x9_Breakout_Template.potx" id="{1A72F1D6-8E00-44B7-8612-A96C51648790}" vid="{FC63816D-7A82-403A-9DF6-29F1914C436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87FE61F759FC41861CE12C790A80CC" ma:contentTypeVersion="6" ma:contentTypeDescription="Create a new document." ma:contentTypeScope="" ma:versionID="ce5d434afed99a0febc49e24947dfb84">
  <xsd:schema xmlns:xsd="http://www.w3.org/2001/XMLSchema" xmlns:xs="http://www.w3.org/2001/XMLSchema" xmlns:p="http://schemas.microsoft.com/office/2006/metadata/properties" xmlns:ns2="ff39d70c-cb26-42e3-90dd-658a2fd7f3c2" xmlns:ns3="4ff95f0c-f989-4ad0-a97a-6f1865a2ab48" targetNamespace="http://schemas.microsoft.com/office/2006/metadata/properties" ma:root="true" ma:fieldsID="0adb997e2709c396b2126738f2daf75c" ns2:_="" ns3:_="">
    <xsd:import namespace="ff39d70c-cb26-42e3-90dd-658a2fd7f3c2"/>
    <xsd:import namespace="4ff95f0c-f989-4ad0-a97a-6f1865a2ab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39d70c-cb26-42e3-90dd-658a2fd7f3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f95f0c-f989-4ad0-a97a-6f1865a2ab4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2919DAB-C41F-4B36-BEA7-6F9F519B85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AAA666-8188-4C8C-8515-70D7ED4AE8C5}">
  <ds:schemaRefs>
    <ds:schemaRef ds:uri="ff39d70c-cb26-42e3-90dd-658a2fd7f3c2"/>
    <ds:schemaRef ds:uri="http://schemas.microsoft.com/office/2006/documentManagement/types"/>
    <ds:schemaRef ds:uri="http://purl.org/dc/dcmitype/"/>
    <ds:schemaRef ds:uri="http://purl.org/dc/terms/"/>
    <ds:schemaRef ds:uri="4ff95f0c-f989-4ad0-a97a-6f1865a2ab48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49768D6-60E6-4093-B46C-1346E4A810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39d70c-cb26-42e3-90dd-658a2fd7f3c2"/>
    <ds:schemaRef ds:uri="4ff95f0c-f989-4ad0-a97a-6f1865a2ab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658</TotalTime>
  <Words>1984</Words>
  <Application>Microsoft Office PowerPoint</Application>
  <PresentationFormat>Widescreen</PresentationFormat>
  <Paragraphs>503</Paragraphs>
  <Slides>31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66" baseType="lpstr">
      <vt:lpstr>Avenir LT Pro 45 Book</vt:lpstr>
      <vt:lpstr>ＭＳ Ｐゴシック</vt:lpstr>
      <vt:lpstr>Quattrocento Sans</vt:lpstr>
      <vt:lpstr>Segoe Pro Semibold</vt:lpstr>
      <vt:lpstr>Segoe UI Light (Headings)</vt:lpstr>
      <vt:lpstr>Arial</vt:lpstr>
      <vt:lpstr>Calibri</vt:lpstr>
      <vt:lpstr>Calibri Light</vt:lpstr>
      <vt:lpstr>Consolas</vt:lpstr>
      <vt:lpstr>Courier New</vt:lpstr>
      <vt:lpstr>Segoe UI</vt:lpstr>
      <vt:lpstr>Segoe UI Black</vt:lpstr>
      <vt:lpstr>Segoe UI Light</vt:lpstr>
      <vt:lpstr>Segoe UI Semibold</vt:lpstr>
      <vt:lpstr>Segoe UI Semilight</vt:lpstr>
      <vt:lpstr>Times New Roman</vt:lpstr>
      <vt:lpstr>Wingdings</vt:lpstr>
      <vt:lpstr>5-50113_Microsoft_Ready_Light_Template</vt:lpstr>
      <vt:lpstr>Modern DW</vt:lpstr>
      <vt:lpstr>5-50109_Microsoft_Light_Template</vt:lpstr>
      <vt:lpstr>MGXFY15</vt:lpstr>
      <vt:lpstr>Microsoft Analytics &amp; Business Intelligence Partner Airlift</vt:lpstr>
      <vt:lpstr>1_5-50113_Microsoft_Ready_Light_Template</vt:lpstr>
      <vt:lpstr>5-30629_Build_Template_WHITE</vt:lpstr>
      <vt:lpstr>2_5-50113_Microsoft_Ready_Light_Template</vt:lpstr>
      <vt:lpstr>5-50195_Microsoft_Build_Template</vt:lpstr>
      <vt:lpstr>6_5-50173_Microsoft_Ready_Light_Template</vt:lpstr>
      <vt:lpstr>Office Theme</vt:lpstr>
      <vt:lpstr>1_5-50109_Microsoft_Light_Template</vt:lpstr>
      <vt:lpstr>1_5-30629_Build_Template_WHITE</vt:lpstr>
      <vt:lpstr>1_MGXFY15</vt:lpstr>
      <vt:lpstr>Azure PPT Template - 2018</vt:lpstr>
      <vt:lpstr>5-50201_Microsoft_Ready_Template</vt:lpstr>
      <vt:lpstr>2_5-50109_Microsoft_Light_Template</vt:lpstr>
      <vt:lpstr>think-cell Slide</vt:lpstr>
      <vt:lpstr>PowerPoint Presentation</vt:lpstr>
      <vt:lpstr>Ingesting Data into Azure using Azure Data Factory</vt:lpstr>
      <vt:lpstr>Agenda</vt:lpstr>
      <vt:lpstr>PowerPoint Presentation</vt:lpstr>
      <vt:lpstr>PowerPoint Presentation</vt:lpstr>
      <vt:lpstr>Demo: Impact analysis pipeline for airline IROPS</vt:lpstr>
      <vt:lpstr>ADF Overview</vt:lpstr>
      <vt:lpstr>PowerPoint Presentation</vt:lpstr>
      <vt:lpstr>Lift Existing SSIS + SQL Projects to Cloud</vt:lpstr>
      <vt:lpstr>PowerPoint Presentation</vt:lpstr>
      <vt:lpstr>ADF Key Concepts</vt:lpstr>
      <vt:lpstr>PowerPoint Presentation</vt:lpstr>
      <vt:lpstr>PowerPoint Presentation</vt:lpstr>
      <vt:lpstr>Control Flow</vt:lpstr>
      <vt:lpstr>Loading Data using ADF</vt:lpstr>
      <vt:lpstr>Demo: Authoring copy pipeline</vt:lpstr>
      <vt:lpstr>Cloud-to-cloud Copy</vt:lpstr>
      <vt:lpstr>Hybrid Copy</vt:lpstr>
      <vt:lpstr>Advanced Performance Optimization</vt:lpstr>
      <vt:lpstr>Demo: Scaling ingestion perf</vt:lpstr>
      <vt:lpstr>Security</vt:lpstr>
      <vt:lpstr>PowerPoint Presentation</vt:lpstr>
      <vt:lpstr>PowerPoint Presentation</vt:lpstr>
      <vt:lpstr>Ingestion Patterns</vt:lpstr>
      <vt:lpstr>Demo: Incremental ingestion</vt:lpstr>
      <vt:lpstr>Visual Drag-n-Drop Authoring</vt:lpstr>
      <vt:lpstr>Azure Monitoring / OMS integration</vt:lpstr>
      <vt:lpstr>Data Ingestion using ADF</vt:lpstr>
      <vt:lpstr>PowerPoint Presentation</vt:lpstr>
      <vt:lpstr>Q&amp;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rley Wang (SQL)</dc:creator>
  <cp:lastModifiedBy>Shirley Wang (IM)</cp:lastModifiedBy>
  <cp:revision>86</cp:revision>
  <dcterms:created xsi:type="dcterms:W3CDTF">2017-12-08T05:38:57Z</dcterms:created>
  <dcterms:modified xsi:type="dcterms:W3CDTF">2018-12-03T09:4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shwang@microsoft.com</vt:lpwstr>
  </property>
  <property fmtid="{D5CDD505-2E9C-101B-9397-08002B2CF9AE}" pid="5" name="MSIP_Label_f42aa342-8706-4288-bd11-ebb85995028c_SetDate">
    <vt:lpwstr>2017-12-08T05:39:38.5877114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2987FE61F759FC41861CE12C790A80CC</vt:lpwstr>
  </property>
  <property fmtid="{D5CDD505-2E9C-101B-9397-08002B2CF9AE}" pid="11" name="Order">
    <vt:r8>48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</Properties>
</file>